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7"/>
  </p:notesMasterIdLst>
  <p:sldIdLst>
    <p:sldId id="264" r:id="rId5"/>
    <p:sldId id="2147476983" r:id="rId6"/>
    <p:sldId id="2147476893" r:id="rId7"/>
    <p:sldId id="2147476984" r:id="rId8"/>
    <p:sldId id="2147476985" r:id="rId9"/>
    <p:sldId id="2147476986" r:id="rId10"/>
    <p:sldId id="2147477151" r:id="rId11"/>
    <p:sldId id="2147476987" r:id="rId12"/>
    <p:sldId id="2147476988" r:id="rId13"/>
    <p:sldId id="2147476989" r:id="rId14"/>
    <p:sldId id="2147476990" r:id="rId15"/>
    <p:sldId id="291" r:id="rId16"/>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5B9E93-DFC3-4D40-927A-257035AA3383}" v="15" dt="2024-09-09T18:15:14.61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3" d="100"/>
          <a:sy n="73" d="100"/>
        </p:scale>
        <p:origin x="582" y="7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GOR Lopez Orbe" userId="ec57996b-2ae4-4e7e-b3b5-41577a83a4a5" providerId="ADAL" clId="{A083E977-882E-462D-8122-B9E3AAD5933C}"/>
    <pc:docChg chg="undo redo custSel addSld delSld modSld sldOrd">
      <pc:chgData name="IGOR Lopez Orbe" userId="ec57996b-2ae4-4e7e-b3b5-41577a83a4a5" providerId="ADAL" clId="{A083E977-882E-462D-8122-B9E3AAD5933C}" dt="2023-10-03T14:37:21.271" v="1471" actId="47"/>
      <pc:docMkLst>
        <pc:docMk/>
      </pc:docMkLst>
      <pc:sldChg chg="modSp mod">
        <pc:chgData name="IGOR Lopez Orbe" userId="ec57996b-2ae4-4e7e-b3b5-41577a83a4a5" providerId="ADAL" clId="{A083E977-882E-462D-8122-B9E3AAD5933C}" dt="2023-09-21T18:38:06.571" v="24" actId="20577"/>
        <pc:sldMkLst>
          <pc:docMk/>
          <pc:sldMk cId="1082845237" sldId="264"/>
        </pc:sldMkLst>
        <pc:spChg chg="mod">
          <ac:chgData name="IGOR Lopez Orbe" userId="ec57996b-2ae4-4e7e-b3b5-41577a83a4a5" providerId="ADAL" clId="{A083E977-882E-462D-8122-B9E3AAD5933C}" dt="2023-09-21T18:38:06.571" v="24" actId="20577"/>
          <ac:spMkLst>
            <pc:docMk/>
            <pc:sldMk cId="1082845237" sldId="264"/>
            <ac:spMk id="2" creationId="{00000000-0000-0000-0000-000000000000}"/>
          </ac:spMkLst>
        </pc:spChg>
      </pc:sldChg>
      <pc:sldChg chg="modSp mod">
        <pc:chgData name="IGOR Lopez Orbe" userId="ec57996b-2ae4-4e7e-b3b5-41577a83a4a5" providerId="ADAL" clId="{A083E977-882E-462D-8122-B9E3AAD5933C}" dt="2023-10-03T14:07:18.784" v="672" actId="20577"/>
        <pc:sldMkLst>
          <pc:docMk/>
          <pc:sldMk cId="4168345749" sldId="267"/>
        </pc:sldMkLst>
        <pc:spChg chg="mod">
          <ac:chgData name="IGOR Lopez Orbe" userId="ec57996b-2ae4-4e7e-b3b5-41577a83a4a5" providerId="ADAL" clId="{A083E977-882E-462D-8122-B9E3AAD5933C}" dt="2023-10-03T14:07:18.784" v="672" actId="20577"/>
          <ac:spMkLst>
            <pc:docMk/>
            <pc:sldMk cId="4168345749" sldId="267"/>
            <ac:spMk id="4" creationId="{00000000-0000-0000-0000-000000000000}"/>
          </ac:spMkLst>
        </pc:spChg>
      </pc:sldChg>
      <pc:sldChg chg="delSp modSp del mod">
        <pc:chgData name="IGOR Lopez Orbe" userId="ec57996b-2ae4-4e7e-b3b5-41577a83a4a5" providerId="ADAL" clId="{A083E977-882E-462D-8122-B9E3AAD5933C}" dt="2023-09-21T18:41:12.141" v="167" actId="47"/>
        <pc:sldMkLst>
          <pc:docMk/>
          <pc:sldMk cId="2176433010" sldId="293"/>
        </pc:sldMkLst>
        <pc:spChg chg="mod">
          <ac:chgData name="IGOR Lopez Orbe" userId="ec57996b-2ae4-4e7e-b3b5-41577a83a4a5" providerId="ADAL" clId="{A083E977-882E-462D-8122-B9E3AAD5933C}" dt="2023-09-21T18:39:17.586" v="124" actId="20577"/>
          <ac:spMkLst>
            <pc:docMk/>
            <pc:sldMk cId="2176433010" sldId="293"/>
            <ac:spMk id="4" creationId="{AEB663B1-0DB7-C198-122D-C65E7CBBE4F6}"/>
          </ac:spMkLst>
        </pc:spChg>
        <pc:spChg chg="mod">
          <ac:chgData name="IGOR Lopez Orbe" userId="ec57996b-2ae4-4e7e-b3b5-41577a83a4a5" providerId="ADAL" clId="{A083E977-882E-462D-8122-B9E3AAD5933C}" dt="2023-09-21T18:39:56.302" v="146" actId="27636"/>
          <ac:spMkLst>
            <pc:docMk/>
            <pc:sldMk cId="2176433010" sldId="293"/>
            <ac:spMk id="9" creationId="{DADAA1FA-D6EF-CBF8-BC2B-EB9A427EBBCB}"/>
          </ac:spMkLst>
        </pc:spChg>
        <pc:spChg chg="mod">
          <ac:chgData name="IGOR Lopez Orbe" userId="ec57996b-2ae4-4e7e-b3b5-41577a83a4a5" providerId="ADAL" clId="{A083E977-882E-462D-8122-B9E3AAD5933C}" dt="2023-09-21T18:39:24.583" v="140" actId="20577"/>
          <ac:spMkLst>
            <pc:docMk/>
            <pc:sldMk cId="2176433010" sldId="293"/>
            <ac:spMk id="10" creationId="{BBE394BE-4B48-F93E-EF20-BD4069060F8D}"/>
          </ac:spMkLst>
        </pc:spChg>
        <pc:picChg chg="del">
          <ac:chgData name="IGOR Lopez Orbe" userId="ec57996b-2ae4-4e7e-b3b5-41577a83a4a5" providerId="ADAL" clId="{A083E977-882E-462D-8122-B9E3AAD5933C}" dt="2023-09-21T18:39:33.984" v="142" actId="478"/>
          <ac:picMkLst>
            <pc:docMk/>
            <pc:sldMk cId="2176433010" sldId="293"/>
            <ac:picMk id="89" creationId="{7736A49B-87F2-3A97-371A-E777D0A1F597}"/>
          </ac:picMkLst>
        </pc:picChg>
      </pc:sldChg>
      <pc:sldChg chg="add del">
        <pc:chgData name="IGOR Lopez Orbe" userId="ec57996b-2ae4-4e7e-b3b5-41577a83a4a5" providerId="ADAL" clId="{A083E977-882E-462D-8122-B9E3AAD5933C}" dt="2023-10-03T14:20:00.960" v="807" actId="47"/>
        <pc:sldMkLst>
          <pc:docMk/>
          <pc:sldMk cId="2166035940" sldId="322"/>
        </pc:sldMkLst>
      </pc:sldChg>
      <pc:sldChg chg="addSp delSp modSp add mod ord">
        <pc:chgData name="IGOR Lopez Orbe" userId="ec57996b-2ae4-4e7e-b3b5-41577a83a4a5" providerId="ADAL" clId="{A083E977-882E-462D-8122-B9E3AAD5933C}" dt="2023-10-03T14:20:12.277" v="809"/>
        <pc:sldMkLst>
          <pc:docMk/>
          <pc:sldMk cId="651616566" sldId="9619"/>
        </pc:sldMkLst>
        <pc:spChg chg="add del mod">
          <ac:chgData name="IGOR Lopez Orbe" userId="ec57996b-2ae4-4e7e-b3b5-41577a83a4a5" providerId="ADAL" clId="{A083E977-882E-462D-8122-B9E3AAD5933C}" dt="2023-10-03T14:19:33.560" v="806" actId="478"/>
          <ac:spMkLst>
            <pc:docMk/>
            <pc:sldMk cId="651616566" sldId="9619"/>
            <ac:spMk id="3" creationId="{3770E0F7-BB05-72C9-3F0B-669E28DDB553}"/>
          </ac:spMkLst>
        </pc:spChg>
        <pc:picChg chg="mod">
          <ac:chgData name="IGOR Lopez Orbe" userId="ec57996b-2ae4-4e7e-b3b5-41577a83a4a5" providerId="ADAL" clId="{A083E977-882E-462D-8122-B9E3AAD5933C}" dt="2023-10-03T14:19:19.700" v="805" actId="1076"/>
          <ac:picMkLst>
            <pc:docMk/>
            <pc:sldMk cId="651616566" sldId="9619"/>
            <ac:picMk id="4" creationId="{0C342598-2DEF-88E6-9544-5F13A5F3A16E}"/>
          </ac:picMkLst>
        </pc:picChg>
      </pc:sldChg>
      <pc:sldChg chg="add del">
        <pc:chgData name="IGOR Lopez Orbe" userId="ec57996b-2ae4-4e7e-b3b5-41577a83a4a5" providerId="ADAL" clId="{A083E977-882E-462D-8122-B9E3AAD5933C}" dt="2023-10-03T14:13:02.254" v="750" actId="47"/>
        <pc:sldMkLst>
          <pc:docMk/>
          <pc:sldMk cId="4134332408" sldId="2147476744"/>
        </pc:sldMkLst>
      </pc:sldChg>
      <pc:sldChg chg="addSp delSp add del mod">
        <pc:chgData name="IGOR Lopez Orbe" userId="ec57996b-2ae4-4e7e-b3b5-41577a83a4a5" providerId="ADAL" clId="{A083E977-882E-462D-8122-B9E3AAD5933C}" dt="2023-10-03T14:11:44.235" v="728" actId="47"/>
        <pc:sldMkLst>
          <pc:docMk/>
          <pc:sldMk cId="3852621745" sldId="2147476762"/>
        </pc:sldMkLst>
        <pc:spChg chg="add del">
          <ac:chgData name="IGOR Lopez Orbe" userId="ec57996b-2ae4-4e7e-b3b5-41577a83a4a5" providerId="ADAL" clId="{A083E977-882E-462D-8122-B9E3AAD5933C}" dt="2023-10-03T14:11:28.040" v="724" actId="478"/>
          <ac:spMkLst>
            <pc:docMk/>
            <pc:sldMk cId="3852621745" sldId="2147476762"/>
            <ac:spMk id="13" creationId="{A9B1FBF5-E3DE-E32D-A599-782EB414DBAF}"/>
          </ac:spMkLst>
        </pc:spChg>
        <pc:picChg chg="add del">
          <ac:chgData name="IGOR Lopez Orbe" userId="ec57996b-2ae4-4e7e-b3b5-41577a83a4a5" providerId="ADAL" clId="{A083E977-882E-462D-8122-B9E3AAD5933C}" dt="2023-10-03T14:10:45.790" v="699"/>
          <ac:picMkLst>
            <pc:docMk/>
            <pc:sldMk cId="3852621745" sldId="2147476762"/>
            <ac:picMk id="7" creationId="{13F314A1-A7FD-BD88-618E-1C28E9DB243F}"/>
          </ac:picMkLst>
        </pc:picChg>
      </pc:sldChg>
      <pc:sldChg chg="add del">
        <pc:chgData name="IGOR Lopez Orbe" userId="ec57996b-2ae4-4e7e-b3b5-41577a83a4a5" providerId="ADAL" clId="{A083E977-882E-462D-8122-B9E3AAD5933C}" dt="2023-10-03T14:15:01.698" v="780" actId="47"/>
        <pc:sldMkLst>
          <pc:docMk/>
          <pc:sldMk cId="1106611302" sldId="2147476767"/>
        </pc:sldMkLst>
      </pc:sldChg>
      <pc:sldChg chg="add del">
        <pc:chgData name="IGOR Lopez Orbe" userId="ec57996b-2ae4-4e7e-b3b5-41577a83a4a5" providerId="ADAL" clId="{A083E977-882E-462D-8122-B9E3AAD5933C}" dt="2023-10-03T14:13:32.747" v="759" actId="47"/>
        <pc:sldMkLst>
          <pc:docMk/>
          <pc:sldMk cId="1535931961" sldId="2147476772"/>
        </pc:sldMkLst>
      </pc:sldChg>
      <pc:sldChg chg="modSp del mod">
        <pc:chgData name="IGOR Lopez Orbe" userId="ec57996b-2ae4-4e7e-b3b5-41577a83a4a5" providerId="ADAL" clId="{A083E977-882E-462D-8122-B9E3AAD5933C}" dt="2023-09-21T18:41:12.141" v="167" actId="47"/>
        <pc:sldMkLst>
          <pc:docMk/>
          <pc:sldMk cId="3569117900" sldId="2147476791"/>
        </pc:sldMkLst>
        <pc:spChg chg="mod">
          <ac:chgData name="IGOR Lopez Orbe" userId="ec57996b-2ae4-4e7e-b3b5-41577a83a4a5" providerId="ADAL" clId="{A083E977-882E-462D-8122-B9E3AAD5933C}" dt="2023-09-21T18:40:04.284" v="147"/>
          <ac:spMkLst>
            <pc:docMk/>
            <pc:sldMk cId="3569117900" sldId="2147476791"/>
            <ac:spMk id="9" creationId="{8254FFE9-AA1F-EA11-03A6-7AA28D05EEF6}"/>
          </ac:spMkLst>
        </pc:spChg>
      </pc:sldChg>
      <pc:sldChg chg="add del">
        <pc:chgData name="IGOR Lopez Orbe" userId="ec57996b-2ae4-4e7e-b3b5-41577a83a4a5" providerId="ADAL" clId="{A083E977-882E-462D-8122-B9E3AAD5933C}" dt="2023-10-03T14:12:49.406" v="749" actId="47"/>
        <pc:sldMkLst>
          <pc:docMk/>
          <pc:sldMk cId="3448756385" sldId="2147476805"/>
        </pc:sldMkLst>
      </pc:sldChg>
      <pc:sldChg chg="add del">
        <pc:chgData name="IGOR Lopez Orbe" userId="ec57996b-2ae4-4e7e-b3b5-41577a83a4a5" providerId="ADAL" clId="{A083E977-882E-462D-8122-B9E3AAD5933C}" dt="2023-10-03T14:12:30.215" v="745" actId="47"/>
        <pc:sldMkLst>
          <pc:docMk/>
          <pc:sldMk cId="4174888296" sldId="2147476806"/>
        </pc:sldMkLst>
      </pc:sldChg>
      <pc:sldChg chg="add del">
        <pc:chgData name="IGOR Lopez Orbe" userId="ec57996b-2ae4-4e7e-b3b5-41577a83a4a5" providerId="ADAL" clId="{A083E977-882E-462D-8122-B9E3AAD5933C}" dt="2023-10-03T14:12:09.676" v="740" actId="47"/>
        <pc:sldMkLst>
          <pc:docMk/>
          <pc:sldMk cId="3959019064" sldId="2147476811"/>
        </pc:sldMkLst>
      </pc:sldChg>
      <pc:sldChg chg="addSp modSp add mod ord">
        <pc:chgData name="IGOR Lopez Orbe" userId="ec57996b-2ae4-4e7e-b3b5-41577a83a4a5" providerId="ADAL" clId="{A083E977-882E-462D-8122-B9E3AAD5933C}" dt="2023-10-03T14:11:21.044" v="723" actId="27636"/>
        <pc:sldMkLst>
          <pc:docMk/>
          <pc:sldMk cId="2761435256" sldId="2147476826"/>
        </pc:sldMkLst>
        <pc:spChg chg="add mod">
          <ac:chgData name="IGOR Lopez Orbe" userId="ec57996b-2ae4-4e7e-b3b5-41577a83a4a5" providerId="ADAL" clId="{A083E977-882E-462D-8122-B9E3AAD5933C}" dt="2023-10-03T14:11:21.041" v="722" actId="27636"/>
          <ac:spMkLst>
            <pc:docMk/>
            <pc:sldMk cId="2761435256" sldId="2147476826"/>
            <ac:spMk id="2" creationId="{A2713C84-81E9-1A05-22EA-38CBC92793EC}"/>
          </ac:spMkLst>
        </pc:spChg>
        <pc:spChg chg="add mod">
          <ac:chgData name="IGOR Lopez Orbe" userId="ec57996b-2ae4-4e7e-b3b5-41577a83a4a5" providerId="ADAL" clId="{A083E977-882E-462D-8122-B9E3AAD5933C}" dt="2023-10-03T14:11:21.036" v="721" actId="27636"/>
          <ac:spMkLst>
            <pc:docMk/>
            <pc:sldMk cId="2761435256" sldId="2147476826"/>
            <ac:spMk id="5" creationId="{0BCE6989-0745-BBC6-F88F-7449CA836ED8}"/>
          </ac:spMkLst>
        </pc:spChg>
        <pc:spChg chg="add mod">
          <ac:chgData name="IGOR Lopez Orbe" userId="ec57996b-2ae4-4e7e-b3b5-41577a83a4a5" providerId="ADAL" clId="{A083E977-882E-462D-8122-B9E3AAD5933C}" dt="2023-10-03T14:11:21.044" v="723" actId="27636"/>
          <ac:spMkLst>
            <pc:docMk/>
            <pc:sldMk cId="2761435256" sldId="2147476826"/>
            <ac:spMk id="6" creationId="{142EA0C3-D106-789B-8D1E-0429C95DAEF5}"/>
          </ac:spMkLst>
        </pc:spChg>
      </pc:sldChg>
      <pc:sldChg chg="addSp delSp modSp add del mod">
        <pc:chgData name="IGOR Lopez Orbe" userId="ec57996b-2ae4-4e7e-b3b5-41577a83a4a5" providerId="ADAL" clId="{A083E977-882E-462D-8122-B9E3AAD5933C}" dt="2023-10-03T14:14:45.017" v="775" actId="47"/>
        <pc:sldMkLst>
          <pc:docMk/>
          <pc:sldMk cId="1652716541" sldId="2147476827"/>
        </pc:sldMkLst>
        <pc:spChg chg="add del mod">
          <ac:chgData name="IGOR Lopez Orbe" userId="ec57996b-2ae4-4e7e-b3b5-41577a83a4a5" providerId="ADAL" clId="{A083E977-882E-462D-8122-B9E3AAD5933C}" dt="2023-10-03T14:14:14.168" v="767"/>
          <ac:spMkLst>
            <pc:docMk/>
            <pc:sldMk cId="1652716541" sldId="2147476827"/>
            <ac:spMk id="6" creationId="{86A17881-C3EC-E0AD-E542-510A54CA1A4C}"/>
          </ac:spMkLst>
        </pc:spChg>
        <pc:spChg chg="add del mod">
          <ac:chgData name="IGOR Lopez Orbe" userId="ec57996b-2ae4-4e7e-b3b5-41577a83a4a5" providerId="ADAL" clId="{A083E977-882E-462D-8122-B9E3AAD5933C}" dt="2023-10-03T14:14:13.561" v="766"/>
          <ac:spMkLst>
            <pc:docMk/>
            <pc:sldMk cId="1652716541" sldId="2147476827"/>
            <ac:spMk id="9" creationId="{6313CEFE-DF9D-C681-60FC-802F5B194347}"/>
          </ac:spMkLst>
        </pc:spChg>
        <pc:spChg chg="del">
          <ac:chgData name="IGOR Lopez Orbe" userId="ec57996b-2ae4-4e7e-b3b5-41577a83a4a5" providerId="ADAL" clId="{A083E977-882E-462D-8122-B9E3AAD5933C}" dt="2023-10-03T14:13:37.021" v="760" actId="478"/>
          <ac:spMkLst>
            <pc:docMk/>
            <pc:sldMk cId="1652716541" sldId="2147476827"/>
            <ac:spMk id="10" creationId="{5D890B87-6271-A660-CEF4-8BFB3AE2CE7A}"/>
          </ac:spMkLst>
        </pc:spChg>
      </pc:sldChg>
      <pc:sldChg chg="addSp delSp modSp add del mod">
        <pc:chgData name="IGOR Lopez Orbe" userId="ec57996b-2ae4-4e7e-b3b5-41577a83a4a5" providerId="ADAL" clId="{A083E977-882E-462D-8122-B9E3AAD5933C}" dt="2023-10-03T14:11:39.632" v="727" actId="478"/>
        <pc:sldMkLst>
          <pc:docMk/>
          <pc:sldMk cId="4038617994" sldId="2147476882"/>
        </pc:sldMkLst>
        <pc:spChg chg="add mod">
          <ac:chgData name="IGOR Lopez Orbe" userId="ec57996b-2ae4-4e7e-b3b5-41577a83a4a5" providerId="ADAL" clId="{A083E977-882E-462D-8122-B9E3AAD5933C}" dt="2023-10-03T14:11:34.662" v="725"/>
          <ac:spMkLst>
            <pc:docMk/>
            <pc:sldMk cId="4038617994" sldId="2147476882"/>
            <ac:spMk id="2" creationId="{64BDC90C-9C1F-B646-1699-66890A163BBE}"/>
          </ac:spMkLst>
        </pc:spChg>
        <pc:spChg chg="add mod">
          <ac:chgData name="IGOR Lopez Orbe" userId="ec57996b-2ae4-4e7e-b3b5-41577a83a4a5" providerId="ADAL" clId="{A083E977-882E-462D-8122-B9E3AAD5933C}" dt="2023-10-03T14:11:34.662" v="725"/>
          <ac:spMkLst>
            <pc:docMk/>
            <pc:sldMk cId="4038617994" sldId="2147476882"/>
            <ac:spMk id="3" creationId="{E14DDDBA-452D-6757-775E-A7FE1C69CC1E}"/>
          </ac:spMkLst>
        </pc:spChg>
        <pc:spChg chg="add del mod">
          <ac:chgData name="IGOR Lopez Orbe" userId="ec57996b-2ae4-4e7e-b3b5-41577a83a4a5" providerId="ADAL" clId="{A083E977-882E-462D-8122-B9E3AAD5933C}" dt="2023-10-03T14:11:39.632" v="727" actId="478"/>
          <ac:spMkLst>
            <pc:docMk/>
            <pc:sldMk cId="4038617994" sldId="2147476882"/>
            <ac:spMk id="6" creationId="{620DAA95-9360-7686-1EB0-5DD60DEBFE48}"/>
          </ac:spMkLst>
        </pc:spChg>
        <pc:spChg chg="del">
          <ac:chgData name="IGOR Lopez Orbe" userId="ec57996b-2ae4-4e7e-b3b5-41577a83a4a5" providerId="ADAL" clId="{A083E977-882E-462D-8122-B9E3AAD5933C}" dt="2023-09-21T18:40:21.749" v="155" actId="478"/>
          <ac:spMkLst>
            <pc:docMk/>
            <pc:sldMk cId="4038617994" sldId="2147476882"/>
            <ac:spMk id="7" creationId="{C16082ED-7EC2-4705-8E54-6391144823A5}"/>
          </ac:spMkLst>
        </pc:spChg>
        <pc:spChg chg="del">
          <ac:chgData name="IGOR Lopez Orbe" userId="ec57996b-2ae4-4e7e-b3b5-41577a83a4a5" providerId="ADAL" clId="{A083E977-882E-462D-8122-B9E3AAD5933C}" dt="2023-09-21T18:40:21.749" v="155" actId="478"/>
          <ac:spMkLst>
            <pc:docMk/>
            <pc:sldMk cId="4038617994" sldId="2147476882"/>
            <ac:spMk id="10" creationId="{00000000-0000-0000-0000-000000000000}"/>
          </ac:spMkLst>
        </pc:spChg>
        <pc:spChg chg="del">
          <ac:chgData name="IGOR Lopez Orbe" userId="ec57996b-2ae4-4e7e-b3b5-41577a83a4a5" providerId="ADAL" clId="{A083E977-882E-462D-8122-B9E3AAD5933C}" dt="2023-09-21T18:40:16.391" v="151" actId="478"/>
          <ac:spMkLst>
            <pc:docMk/>
            <pc:sldMk cId="4038617994" sldId="2147476882"/>
            <ac:spMk id="11" creationId="{52A14C51-0318-BD94-33B4-A317419FAB49}"/>
          </ac:spMkLst>
        </pc:spChg>
        <pc:spChg chg="del mod">
          <ac:chgData name="IGOR Lopez Orbe" userId="ec57996b-2ae4-4e7e-b3b5-41577a83a4a5" providerId="ADAL" clId="{A083E977-882E-462D-8122-B9E3AAD5933C}" dt="2023-09-21T18:40:19.288" v="154" actId="478"/>
          <ac:spMkLst>
            <pc:docMk/>
            <pc:sldMk cId="4038617994" sldId="2147476882"/>
            <ac:spMk id="12" creationId="{7EDA813E-5B01-2B58-9A3C-CF8002488F69}"/>
          </ac:spMkLst>
        </pc:spChg>
        <pc:spChg chg="add del mod">
          <ac:chgData name="IGOR Lopez Orbe" userId="ec57996b-2ae4-4e7e-b3b5-41577a83a4a5" providerId="ADAL" clId="{A083E977-882E-462D-8122-B9E3AAD5933C}" dt="2023-09-21T18:40:59.313" v="165" actId="20577"/>
          <ac:spMkLst>
            <pc:docMk/>
            <pc:sldMk cId="4038617994" sldId="2147476882"/>
            <ac:spMk id="13" creationId="{925B5B00-5C62-FA4C-FD2B-28F7C46984AE}"/>
          </ac:spMkLst>
        </pc:spChg>
        <pc:spChg chg="add del mod">
          <ac:chgData name="IGOR Lopez Orbe" userId="ec57996b-2ae4-4e7e-b3b5-41577a83a4a5" providerId="ADAL" clId="{A083E977-882E-462D-8122-B9E3AAD5933C}" dt="2023-09-21T18:40:50.038" v="163" actId="478"/>
          <ac:spMkLst>
            <pc:docMk/>
            <pc:sldMk cId="4038617994" sldId="2147476882"/>
            <ac:spMk id="15" creationId="{D50D37D2-9A56-EA65-D4C5-D649C0757622}"/>
          </ac:spMkLst>
        </pc:spChg>
        <pc:spChg chg="del mod">
          <ac:chgData name="IGOR Lopez Orbe" userId="ec57996b-2ae4-4e7e-b3b5-41577a83a4a5" providerId="ADAL" clId="{A083E977-882E-462D-8122-B9E3AAD5933C}" dt="2023-10-03T14:11:37.924" v="726" actId="478"/>
          <ac:spMkLst>
            <pc:docMk/>
            <pc:sldMk cId="4038617994" sldId="2147476882"/>
            <ac:spMk id="16" creationId="{29DE1E96-D376-4B29-F153-088461C873DB}"/>
          </ac:spMkLst>
        </pc:spChg>
        <pc:spChg chg="del">
          <ac:chgData name="IGOR Lopez Orbe" userId="ec57996b-2ae4-4e7e-b3b5-41577a83a4a5" providerId="ADAL" clId="{A083E977-882E-462D-8122-B9E3AAD5933C}" dt="2023-09-21T18:40:10.499" v="148" actId="478"/>
          <ac:spMkLst>
            <pc:docMk/>
            <pc:sldMk cId="4038617994" sldId="2147476882"/>
            <ac:spMk id="17" creationId="{5B9677E9-646F-29A6-17F2-8A657BC83CEC}"/>
          </ac:spMkLst>
        </pc:spChg>
        <pc:spChg chg="add del mod">
          <ac:chgData name="IGOR Lopez Orbe" userId="ec57996b-2ae4-4e7e-b3b5-41577a83a4a5" providerId="ADAL" clId="{A083E977-882E-462D-8122-B9E3AAD5933C}" dt="2023-09-21T18:40:49.531" v="162"/>
          <ac:spMkLst>
            <pc:docMk/>
            <pc:sldMk cId="4038617994" sldId="2147476882"/>
            <ac:spMk id="19" creationId="{2CE3E284-513D-483A-E084-691D01B050C3}"/>
          </ac:spMkLst>
        </pc:spChg>
        <pc:spChg chg="add del mod">
          <ac:chgData name="IGOR Lopez Orbe" userId="ec57996b-2ae4-4e7e-b3b5-41577a83a4a5" providerId="ADAL" clId="{A083E977-882E-462D-8122-B9E3AAD5933C}" dt="2023-09-21T18:40:49.531" v="162"/>
          <ac:spMkLst>
            <pc:docMk/>
            <pc:sldMk cId="4038617994" sldId="2147476882"/>
            <ac:spMk id="20" creationId="{B20EF0F1-DB60-7CA2-56BF-6E11FE6EE196}"/>
          </ac:spMkLst>
        </pc:spChg>
        <pc:spChg chg="add del mod">
          <ac:chgData name="IGOR Lopez Orbe" userId="ec57996b-2ae4-4e7e-b3b5-41577a83a4a5" providerId="ADAL" clId="{A083E977-882E-462D-8122-B9E3AAD5933C}" dt="2023-10-03T14:10:59.614" v="716" actId="20577"/>
          <ac:spMkLst>
            <pc:docMk/>
            <pc:sldMk cId="4038617994" sldId="2147476882"/>
            <ac:spMk id="21" creationId="{9C1E2355-BCC0-C4D8-7602-A7945945F9F5}"/>
          </ac:spMkLst>
        </pc:spChg>
        <pc:spChg chg="del">
          <ac:chgData name="IGOR Lopez Orbe" userId="ec57996b-2ae4-4e7e-b3b5-41577a83a4a5" providerId="ADAL" clId="{A083E977-882E-462D-8122-B9E3AAD5933C}" dt="2023-09-21T18:40:21.749" v="155" actId="478"/>
          <ac:spMkLst>
            <pc:docMk/>
            <pc:sldMk cId="4038617994" sldId="2147476882"/>
            <ac:spMk id="23" creationId="{9C216D63-B3C1-DA0B-7A02-51007DF9C2A3}"/>
          </ac:spMkLst>
        </pc:spChg>
        <pc:spChg chg="del">
          <ac:chgData name="IGOR Lopez Orbe" userId="ec57996b-2ae4-4e7e-b3b5-41577a83a4a5" providerId="ADAL" clId="{A083E977-882E-462D-8122-B9E3AAD5933C}" dt="2023-09-21T18:40:21.749" v="155" actId="478"/>
          <ac:spMkLst>
            <pc:docMk/>
            <pc:sldMk cId="4038617994" sldId="2147476882"/>
            <ac:spMk id="26" creationId="{EC3887AE-27BE-8911-09DA-3B7219847110}"/>
          </ac:spMkLst>
        </pc:spChg>
        <pc:spChg chg="del">
          <ac:chgData name="IGOR Lopez Orbe" userId="ec57996b-2ae4-4e7e-b3b5-41577a83a4a5" providerId="ADAL" clId="{A083E977-882E-462D-8122-B9E3AAD5933C}" dt="2023-09-21T18:40:21.749" v="155" actId="478"/>
          <ac:spMkLst>
            <pc:docMk/>
            <pc:sldMk cId="4038617994" sldId="2147476882"/>
            <ac:spMk id="31" creationId="{91348808-6900-4B1B-4044-23E5A69DA343}"/>
          </ac:spMkLst>
        </pc:spChg>
        <pc:spChg chg="del">
          <ac:chgData name="IGOR Lopez Orbe" userId="ec57996b-2ae4-4e7e-b3b5-41577a83a4a5" providerId="ADAL" clId="{A083E977-882E-462D-8122-B9E3AAD5933C}" dt="2023-09-21T18:40:21.749" v="155" actId="478"/>
          <ac:spMkLst>
            <pc:docMk/>
            <pc:sldMk cId="4038617994" sldId="2147476882"/>
            <ac:spMk id="43" creationId="{B924678A-ED22-9C14-FF05-9541560B9E61}"/>
          </ac:spMkLst>
        </pc:spChg>
        <pc:spChg chg="del">
          <ac:chgData name="IGOR Lopez Orbe" userId="ec57996b-2ae4-4e7e-b3b5-41577a83a4a5" providerId="ADAL" clId="{A083E977-882E-462D-8122-B9E3AAD5933C}" dt="2023-09-21T18:40:21.749" v="155" actId="478"/>
          <ac:spMkLst>
            <pc:docMk/>
            <pc:sldMk cId="4038617994" sldId="2147476882"/>
            <ac:spMk id="44" creationId="{4BB09364-8A81-6A5F-55F3-2FE3B0F578FA}"/>
          </ac:spMkLst>
        </pc:spChg>
        <pc:spChg chg="del">
          <ac:chgData name="IGOR Lopez Orbe" userId="ec57996b-2ae4-4e7e-b3b5-41577a83a4a5" providerId="ADAL" clId="{A083E977-882E-462D-8122-B9E3AAD5933C}" dt="2023-09-21T18:40:21.749" v="155" actId="478"/>
          <ac:spMkLst>
            <pc:docMk/>
            <pc:sldMk cId="4038617994" sldId="2147476882"/>
            <ac:spMk id="46" creationId="{C501FF9F-571B-293B-0F23-956651E93230}"/>
          </ac:spMkLst>
        </pc:spChg>
        <pc:spChg chg="del">
          <ac:chgData name="IGOR Lopez Orbe" userId="ec57996b-2ae4-4e7e-b3b5-41577a83a4a5" providerId="ADAL" clId="{A083E977-882E-462D-8122-B9E3AAD5933C}" dt="2023-09-21T18:40:21.749" v="155" actId="478"/>
          <ac:spMkLst>
            <pc:docMk/>
            <pc:sldMk cId="4038617994" sldId="2147476882"/>
            <ac:spMk id="47" creationId="{1F09EEC3-6AB4-4049-FB59-343D2923F150}"/>
          </ac:spMkLst>
        </pc:spChg>
        <pc:spChg chg="del">
          <ac:chgData name="IGOR Lopez Orbe" userId="ec57996b-2ae4-4e7e-b3b5-41577a83a4a5" providerId="ADAL" clId="{A083E977-882E-462D-8122-B9E3AAD5933C}" dt="2023-09-21T18:40:21.749" v="155" actId="478"/>
          <ac:spMkLst>
            <pc:docMk/>
            <pc:sldMk cId="4038617994" sldId="2147476882"/>
            <ac:spMk id="50" creationId="{3F8831D2-5C7E-8207-CADA-67FD7A5CF50E}"/>
          </ac:spMkLst>
        </pc:spChg>
        <pc:spChg chg="del">
          <ac:chgData name="IGOR Lopez Orbe" userId="ec57996b-2ae4-4e7e-b3b5-41577a83a4a5" providerId="ADAL" clId="{A083E977-882E-462D-8122-B9E3AAD5933C}" dt="2023-09-21T18:40:21.749" v="155" actId="478"/>
          <ac:spMkLst>
            <pc:docMk/>
            <pc:sldMk cId="4038617994" sldId="2147476882"/>
            <ac:spMk id="51" creationId="{EC3887AE-27BE-8911-09DA-3B7219847110}"/>
          </ac:spMkLst>
        </pc:spChg>
        <pc:spChg chg="del">
          <ac:chgData name="IGOR Lopez Orbe" userId="ec57996b-2ae4-4e7e-b3b5-41577a83a4a5" providerId="ADAL" clId="{A083E977-882E-462D-8122-B9E3AAD5933C}" dt="2023-09-21T18:40:21.749" v="155" actId="478"/>
          <ac:spMkLst>
            <pc:docMk/>
            <pc:sldMk cId="4038617994" sldId="2147476882"/>
            <ac:spMk id="53" creationId="{98113FB9-10C2-B251-24C1-A06AF3DB70E2}"/>
          </ac:spMkLst>
        </pc:spChg>
        <pc:spChg chg="del">
          <ac:chgData name="IGOR Lopez Orbe" userId="ec57996b-2ae4-4e7e-b3b5-41577a83a4a5" providerId="ADAL" clId="{A083E977-882E-462D-8122-B9E3AAD5933C}" dt="2023-09-21T18:40:21.749" v="155" actId="478"/>
          <ac:spMkLst>
            <pc:docMk/>
            <pc:sldMk cId="4038617994" sldId="2147476882"/>
            <ac:spMk id="55" creationId="{55AD4693-DC9E-A8D9-9377-32603E078C75}"/>
          </ac:spMkLst>
        </pc:spChg>
        <pc:spChg chg="del">
          <ac:chgData name="IGOR Lopez Orbe" userId="ec57996b-2ae4-4e7e-b3b5-41577a83a4a5" providerId="ADAL" clId="{A083E977-882E-462D-8122-B9E3AAD5933C}" dt="2023-09-21T18:40:21.749" v="155" actId="478"/>
          <ac:spMkLst>
            <pc:docMk/>
            <pc:sldMk cId="4038617994" sldId="2147476882"/>
            <ac:spMk id="57" creationId="{165FE1C8-7288-1347-3CCC-CAB0B7FEFB2C}"/>
          </ac:spMkLst>
        </pc:spChg>
        <pc:spChg chg="del">
          <ac:chgData name="IGOR Lopez Orbe" userId="ec57996b-2ae4-4e7e-b3b5-41577a83a4a5" providerId="ADAL" clId="{A083E977-882E-462D-8122-B9E3AAD5933C}" dt="2023-09-21T18:40:21.749" v="155" actId="478"/>
          <ac:spMkLst>
            <pc:docMk/>
            <pc:sldMk cId="4038617994" sldId="2147476882"/>
            <ac:spMk id="74" creationId="{21F9032B-DA0B-334F-C2F1-14C6E390591F}"/>
          </ac:spMkLst>
        </pc:spChg>
        <pc:spChg chg="del">
          <ac:chgData name="IGOR Lopez Orbe" userId="ec57996b-2ae4-4e7e-b3b5-41577a83a4a5" providerId="ADAL" clId="{A083E977-882E-462D-8122-B9E3AAD5933C}" dt="2023-09-21T18:40:21.749" v="155" actId="478"/>
          <ac:spMkLst>
            <pc:docMk/>
            <pc:sldMk cId="4038617994" sldId="2147476882"/>
            <ac:spMk id="76" creationId="{16260FE1-224A-FFD9-FC6D-C318F3BD1CE7}"/>
          </ac:spMkLst>
        </pc:spChg>
        <pc:spChg chg="del">
          <ac:chgData name="IGOR Lopez Orbe" userId="ec57996b-2ae4-4e7e-b3b5-41577a83a4a5" providerId="ADAL" clId="{A083E977-882E-462D-8122-B9E3AAD5933C}" dt="2023-09-21T18:40:21.749" v="155" actId="478"/>
          <ac:spMkLst>
            <pc:docMk/>
            <pc:sldMk cId="4038617994" sldId="2147476882"/>
            <ac:spMk id="80" creationId="{0E3A0ADC-4AEE-48B4-BC7F-76233DE60B61}"/>
          </ac:spMkLst>
        </pc:spChg>
        <pc:spChg chg="del">
          <ac:chgData name="IGOR Lopez Orbe" userId="ec57996b-2ae4-4e7e-b3b5-41577a83a4a5" providerId="ADAL" clId="{A083E977-882E-462D-8122-B9E3AAD5933C}" dt="2023-09-21T18:40:21.749" v="155" actId="478"/>
          <ac:spMkLst>
            <pc:docMk/>
            <pc:sldMk cId="4038617994" sldId="2147476882"/>
            <ac:spMk id="82" creationId="{4DE2CE97-B4C6-5A69-7A52-F40691FA7D85}"/>
          </ac:spMkLst>
        </pc:spChg>
        <pc:spChg chg="del">
          <ac:chgData name="IGOR Lopez Orbe" userId="ec57996b-2ae4-4e7e-b3b5-41577a83a4a5" providerId="ADAL" clId="{A083E977-882E-462D-8122-B9E3AAD5933C}" dt="2023-09-21T18:40:21.749" v="155" actId="478"/>
          <ac:spMkLst>
            <pc:docMk/>
            <pc:sldMk cId="4038617994" sldId="2147476882"/>
            <ac:spMk id="84" creationId="{AADBC63E-3AFC-928E-45F3-0ADE7A93F715}"/>
          </ac:spMkLst>
        </pc:spChg>
        <pc:spChg chg="del">
          <ac:chgData name="IGOR Lopez Orbe" userId="ec57996b-2ae4-4e7e-b3b5-41577a83a4a5" providerId="ADAL" clId="{A083E977-882E-462D-8122-B9E3AAD5933C}" dt="2023-09-21T18:40:21.749" v="155" actId="478"/>
          <ac:spMkLst>
            <pc:docMk/>
            <pc:sldMk cId="4038617994" sldId="2147476882"/>
            <ac:spMk id="86" creationId="{0F6262B0-FDAF-CAB0-F799-43AFF314E863}"/>
          </ac:spMkLst>
        </pc:spChg>
        <pc:spChg chg="del">
          <ac:chgData name="IGOR Lopez Orbe" userId="ec57996b-2ae4-4e7e-b3b5-41577a83a4a5" providerId="ADAL" clId="{A083E977-882E-462D-8122-B9E3AAD5933C}" dt="2023-09-21T18:40:21.749" v="155" actId="478"/>
          <ac:spMkLst>
            <pc:docMk/>
            <pc:sldMk cId="4038617994" sldId="2147476882"/>
            <ac:spMk id="88" creationId="{4493350C-65C1-2C4D-53D2-931F935749AD}"/>
          </ac:spMkLst>
        </pc:spChg>
        <pc:spChg chg="del">
          <ac:chgData name="IGOR Lopez Orbe" userId="ec57996b-2ae4-4e7e-b3b5-41577a83a4a5" providerId="ADAL" clId="{A083E977-882E-462D-8122-B9E3AAD5933C}" dt="2023-09-21T18:40:21.749" v="155" actId="478"/>
          <ac:spMkLst>
            <pc:docMk/>
            <pc:sldMk cId="4038617994" sldId="2147476882"/>
            <ac:spMk id="90" creationId="{219EF138-5E9A-35FA-BD17-A6C3E1840368}"/>
          </ac:spMkLst>
        </pc:spChg>
        <pc:spChg chg="del">
          <ac:chgData name="IGOR Lopez Orbe" userId="ec57996b-2ae4-4e7e-b3b5-41577a83a4a5" providerId="ADAL" clId="{A083E977-882E-462D-8122-B9E3AAD5933C}" dt="2023-09-21T18:40:21.749" v="155" actId="478"/>
          <ac:spMkLst>
            <pc:docMk/>
            <pc:sldMk cId="4038617994" sldId="2147476882"/>
            <ac:spMk id="92" creationId="{C8C9747E-E345-AB85-21D1-A386EE18A25A}"/>
          </ac:spMkLst>
        </pc:spChg>
        <pc:spChg chg="del">
          <ac:chgData name="IGOR Lopez Orbe" userId="ec57996b-2ae4-4e7e-b3b5-41577a83a4a5" providerId="ADAL" clId="{A083E977-882E-462D-8122-B9E3AAD5933C}" dt="2023-09-21T18:40:15.772" v="150" actId="478"/>
          <ac:spMkLst>
            <pc:docMk/>
            <pc:sldMk cId="4038617994" sldId="2147476882"/>
            <ac:spMk id="94" creationId="{F8AFD717-A0B7-8104-F183-2367BCFFC073}"/>
          </ac:spMkLst>
        </pc:spChg>
        <pc:spChg chg="del">
          <ac:chgData name="IGOR Lopez Orbe" userId="ec57996b-2ae4-4e7e-b3b5-41577a83a4a5" providerId="ADAL" clId="{A083E977-882E-462D-8122-B9E3AAD5933C}" dt="2023-09-21T18:40:21.749" v="155" actId="478"/>
          <ac:spMkLst>
            <pc:docMk/>
            <pc:sldMk cId="4038617994" sldId="2147476882"/>
            <ac:spMk id="107" creationId="{AE5A1C19-4BB0-DF8F-0274-705D2D6DCF87}"/>
          </ac:spMkLst>
        </pc:spChg>
        <pc:spChg chg="del">
          <ac:chgData name="IGOR Lopez Orbe" userId="ec57996b-2ae4-4e7e-b3b5-41577a83a4a5" providerId="ADAL" clId="{A083E977-882E-462D-8122-B9E3AAD5933C}" dt="2023-09-21T18:40:21.749" v="155" actId="478"/>
          <ac:spMkLst>
            <pc:docMk/>
            <pc:sldMk cId="4038617994" sldId="2147476882"/>
            <ac:spMk id="108" creationId="{B327477A-AD3C-84E3-B5C2-FB707C4EA113}"/>
          </ac:spMkLst>
        </pc:spChg>
        <pc:spChg chg="del">
          <ac:chgData name="IGOR Lopez Orbe" userId="ec57996b-2ae4-4e7e-b3b5-41577a83a4a5" providerId="ADAL" clId="{A083E977-882E-462D-8122-B9E3AAD5933C}" dt="2023-09-21T18:40:21.749" v="155" actId="478"/>
          <ac:spMkLst>
            <pc:docMk/>
            <pc:sldMk cId="4038617994" sldId="2147476882"/>
            <ac:spMk id="110" creationId="{74EC5DEC-D1FC-607D-CA4B-819E1496043B}"/>
          </ac:spMkLst>
        </pc:spChg>
        <pc:spChg chg="del">
          <ac:chgData name="IGOR Lopez Orbe" userId="ec57996b-2ae4-4e7e-b3b5-41577a83a4a5" providerId="ADAL" clId="{A083E977-882E-462D-8122-B9E3AAD5933C}" dt="2023-09-21T18:40:21.749" v="155" actId="478"/>
          <ac:spMkLst>
            <pc:docMk/>
            <pc:sldMk cId="4038617994" sldId="2147476882"/>
            <ac:spMk id="112" creationId="{1041761E-5364-6020-7705-1C3FF45DE6BD}"/>
          </ac:spMkLst>
        </pc:spChg>
        <pc:spChg chg="del">
          <ac:chgData name="IGOR Lopez Orbe" userId="ec57996b-2ae4-4e7e-b3b5-41577a83a4a5" providerId="ADAL" clId="{A083E977-882E-462D-8122-B9E3AAD5933C}" dt="2023-09-21T18:40:21.749" v="155" actId="478"/>
          <ac:spMkLst>
            <pc:docMk/>
            <pc:sldMk cId="4038617994" sldId="2147476882"/>
            <ac:spMk id="116" creationId="{4E68A58D-5E27-EDDF-0D52-2DE0710810EF}"/>
          </ac:spMkLst>
        </pc:spChg>
        <pc:spChg chg="del">
          <ac:chgData name="IGOR Lopez Orbe" userId="ec57996b-2ae4-4e7e-b3b5-41577a83a4a5" providerId="ADAL" clId="{A083E977-882E-462D-8122-B9E3AAD5933C}" dt="2023-09-21T18:40:21.749" v="155" actId="478"/>
          <ac:spMkLst>
            <pc:docMk/>
            <pc:sldMk cId="4038617994" sldId="2147476882"/>
            <ac:spMk id="120" creationId="{F980C85D-B8F0-65E9-BFA7-69BD0928E822}"/>
          </ac:spMkLst>
        </pc:spChg>
        <pc:spChg chg="del">
          <ac:chgData name="IGOR Lopez Orbe" userId="ec57996b-2ae4-4e7e-b3b5-41577a83a4a5" providerId="ADAL" clId="{A083E977-882E-462D-8122-B9E3AAD5933C}" dt="2023-09-21T18:40:21.749" v="155" actId="478"/>
          <ac:spMkLst>
            <pc:docMk/>
            <pc:sldMk cId="4038617994" sldId="2147476882"/>
            <ac:spMk id="123" creationId="{B1AB6E2C-74EF-52E8-AFB0-163280D2FA74}"/>
          </ac:spMkLst>
        </pc:spChg>
        <pc:spChg chg="del">
          <ac:chgData name="IGOR Lopez Orbe" userId="ec57996b-2ae4-4e7e-b3b5-41577a83a4a5" providerId="ADAL" clId="{A083E977-882E-462D-8122-B9E3AAD5933C}" dt="2023-09-21T18:40:21.749" v="155" actId="478"/>
          <ac:spMkLst>
            <pc:docMk/>
            <pc:sldMk cId="4038617994" sldId="2147476882"/>
            <ac:spMk id="126" creationId="{F8A81944-D71E-4C36-E5F4-E2CE56B33AC6}"/>
          </ac:spMkLst>
        </pc:spChg>
        <pc:spChg chg="del">
          <ac:chgData name="IGOR Lopez Orbe" userId="ec57996b-2ae4-4e7e-b3b5-41577a83a4a5" providerId="ADAL" clId="{A083E977-882E-462D-8122-B9E3AAD5933C}" dt="2023-09-21T18:40:21.749" v="155" actId="478"/>
          <ac:spMkLst>
            <pc:docMk/>
            <pc:sldMk cId="4038617994" sldId="2147476882"/>
            <ac:spMk id="133"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6"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7"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8"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9" creationId="{00000000-0000-0000-0000-000000000000}"/>
          </ac:spMkLst>
        </pc:spChg>
        <pc:grpChg chg="del">
          <ac:chgData name="IGOR Lopez Orbe" userId="ec57996b-2ae4-4e7e-b3b5-41577a83a4a5" providerId="ADAL" clId="{A083E977-882E-462D-8122-B9E3AAD5933C}" dt="2023-09-21T18:40:15.023" v="149" actId="478"/>
          <ac:grpSpMkLst>
            <pc:docMk/>
            <pc:sldMk cId="4038617994" sldId="2147476882"/>
            <ac:grpSpMk id="2" creationId="{E62E4649-3E6A-EFC5-8D8E-112F8180AE8F}"/>
          </ac:grpSpMkLst>
        </pc:grpChg>
        <pc:picChg chg="del">
          <ac:chgData name="IGOR Lopez Orbe" userId="ec57996b-2ae4-4e7e-b3b5-41577a83a4a5" providerId="ADAL" clId="{A083E977-882E-462D-8122-B9E3AAD5933C}" dt="2023-09-21T18:40:21.749" v="155" actId="478"/>
          <ac:picMkLst>
            <pc:docMk/>
            <pc:sldMk cId="4038617994" sldId="2147476882"/>
            <ac:picMk id="9" creationId="{00000000-0000-0000-0000-000000000000}"/>
          </ac:picMkLst>
        </pc:picChg>
        <pc:picChg chg="del">
          <ac:chgData name="IGOR Lopez Orbe" userId="ec57996b-2ae4-4e7e-b3b5-41577a83a4a5" providerId="ADAL" clId="{A083E977-882E-462D-8122-B9E3AAD5933C}" dt="2023-09-21T18:40:21.749" v="155" actId="478"/>
          <ac:picMkLst>
            <pc:docMk/>
            <pc:sldMk cId="4038617994" sldId="2147476882"/>
            <ac:picMk id="18" creationId="{4C94E9C0-369D-CEE9-17D9-9C6B8FFBBD49}"/>
          </ac:picMkLst>
        </pc:picChg>
        <pc:picChg chg="del">
          <ac:chgData name="IGOR Lopez Orbe" userId="ec57996b-2ae4-4e7e-b3b5-41577a83a4a5" providerId="ADAL" clId="{A083E977-882E-462D-8122-B9E3AAD5933C}" dt="2023-09-21T18:40:21.749" v="155" actId="478"/>
          <ac:picMkLst>
            <pc:docMk/>
            <pc:sldMk cId="4038617994" sldId="2147476882"/>
            <ac:picMk id="27" creationId="{B2A630B9-D9EC-7168-ED25-2419659DB45D}"/>
          </ac:picMkLst>
        </pc:picChg>
        <pc:picChg chg="del">
          <ac:chgData name="IGOR Lopez Orbe" userId="ec57996b-2ae4-4e7e-b3b5-41577a83a4a5" providerId="ADAL" clId="{A083E977-882E-462D-8122-B9E3AAD5933C}" dt="2023-09-21T18:40:21.749" v="155" actId="478"/>
          <ac:picMkLst>
            <pc:docMk/>
            <pc:sldMk cId="4038617994" sldId="2147476882"/>
            <ac:picMk id="49" creationId="{A3CE4915-E72D-5752-EC63-C8296781D31C}"/>
          </ac:picMkLst>
        </pc:picChg>
        <pc:picChg chg="del">
          <ac:chgData name="IGOR Lopez Orbe" userId="ec57996b-2ae4-4e7e-b3b5-41577a83a4a5" providerId="ADAL" clId="{A083E977-882E-462D-8122-B9E3AAD5933C}" dt="2023-09-21T18:40:21.749" v="155" actId="478"/>
          <ac:picMkLst>
            <pc:docMk/>
            <pc:sldMk cId="4038617994" sldId="2147476882"/>
            <ac:picMk id="59" creationId="{0DE291CE-6DF4-DFAB-0049-CCBEFFEF0D13}"/>
          </ac:picMkLst>
        </pc:picChg>
        <pc:picChg chg="del">
          <ac:chgData name="IGOR Lopez Orbe" userId="ec57996b-2ae4-4e7e-b3b5-41577a83a4a5" providerId="ADAL" clId="{A083E977-882E-462D-8122-B9E3AAD5933C}" dt="2023-09-21T18:40:21.749" v="155" actId="478"/>
          <ac:picMkLst>
            <pc:docMk/>
            <pc:sldMk cId="4038617994" sldId="2147476882"/>
            <ac:picMk id="61" creationId="{FE9609F1-1DB2-0679-2878-BE588F9E4B0F}"/>
          </ac:picMkLst>
        </pc:picChg>
      </pc:sldChg>
      <pc:sldChg chg="del">
        <pc:chgData name="IGOR Lopez Orbe" userId="ec57996b-2ae4-4e7e-b3b5-41577a83a4a5" providerId="ADAL" clId="{A083E977-882E-462D-8122-B9E3AAD5933C}" dt="2023-09-21T18:42:32.868" v="207" actId="47"/>
        <pc:sldMkLst>
          <pc:docMk/>
          <pc:sldMk cId="2990209439" sldId="2147476884"/>
        </pc:sldMkLst>
      </pc:sldChg>
      <pc:sldChg chg="del">
        <pc:chgData name="IGOR Lopez Orbe" userId="ec57996b-2ae4-4e7e-b3b5-41577a83a4a5" providerId="ADAL" clId="{A083E977-882E-462D-8122-B9E3AAD5933C}" dt="2023-09-21T18:42:32.868" v="207" actId="47"/>
        <pc:sldMkLst>
          <pc:docMk/>
          <pc:sldMk cId="1200260248" sldId="2147476887"/>
        </pc:sldMkLst>
      </pc:sldChg>
      <pc:sldChg chg="del">
        <pc:chgData name="IGOR Lopez Orbe" userId="ec57996b-2ae4-4e7e-b3b5-41577a83a4a5" providerId="ADAL" clId="{A083E977-882E-462D-8122-B9E3AAD5933C}" dt="2023-09-21T18:42:32.868" v="207" actId="47"/>
        <pc:sldMkLst>
          <pc:docMk/>
          <pc:sldMk cId="3345386147" sldId="2147476888"/>
        </pc:sldMkLst>
      </pc:sldChg>
      <pc:sldChg chg="del">
        <pc:chgData name="IGOR Lopez Orbe" userId="ec57996b-2ae4-4e7e-b3b5-41577a83a4a5" providerId="ADAL" clId="{A083E977-882E-462D-8122-B9E3AAD5933C}" dt="2023-09-21T18:42:32.868" v="207" actId="47"/>
        <pc:sldMkLst>
          <pc:docMk/>
          <pc:sldMk cId="3608762004" sldId="2147476889"/>
        </pc:sldMkLst>
      </pc:sldChg>
      <pc:sldChg chg="del">
        <pc:chgData name="IGOR Lopez Orbe" userId="ec57996b-2ae4-4e7e-b3b5-41577a83a4a5" providerId="ADAL" clId="{A083E977-882E-462D-8122-B9E3AAD5933C}" dt="2023-09-21T18:42:32.868" v="207" actId="47"/>
        <pc:sldMkLst>
          <pc:docMk/>
          <pc:sldMk cId="4204717147" sldId="2147476890"/>
        </pc:sldMkLst>
      </pc:sldChg>
      <pc:sldChg chg="addSp delSp modSp add mod modClrScheme chgLayout">
        <pc:chgData name="IGOR Lopez Orbe" userId="ec57996b-2ae4-4e7e-b3b5-41577a83a4a5" providerId="ADAL" clId="{A083E977-882E-462D-8122-B9E3AAD5933C}" dt="2023-10-03T14:35:13.006" v="1440" actId="1035"/>
        <pc:sldMkLst>
          <pc:docMk/>
          <pc:sldMk cId="3062153782" sldId="2147476891"/>
        </pc:sldMkLst>
        <pc:spChg chg="add del mod">
          <ac:chgData name="IGOR Lopez Orbe" userId="ec57996b-2ae4-4e7e-b3b5-41577a83a4a5" providerId="ADAL" clId="{A083E977-882E-462D-8122-B9E3AAD5933C}" dt="2023-10-03T14:22:00.617" v="819" actId="478"/>
          <ac:spMkLst>
            <pc:docMk/>
            <pc:sldMk cId="3062153782" sldId="2147476891"/>
            <ac:spMk id="2" creationId="{053E18BC-5AB5-B572-69B8-065CDE2211F4}"/>
          </ac:spMkLst>
        </pc:spChg>
        <pc:spChg chg="add mod ord">
          <ac:chgData name="IGOR Lopez Orbe" userId="ec57996b-2ae4-4e7e-b3b5-41577a83a4a5" providerId="ADAL" clId="{A083E977-882E-462D-8122-B9E3AAD5933C}" dt="2023-10-03T14:23:06.784" v="837" actId="20577"/>
          <ac:spMkLst>
            <pc:docMk/>
            <pc:sldMk cId="3062153782" sldId="2147476891"/>
            <ac:spMk id="3" creationId="{F6E18FE9-7B07-574D-BF03-965ADBAC978F}"/>
          </ac:spMkLst>
        </pc:spChg>
        <pc:spChg chg="add del mod ord">
          <ac:chgData name="IGOR Lopez Orbe" userId="ec57996b-2ae4-4e7e-b3b5-41577a83a4a5" providerId="ADAL" clId="{A083E977-882E-462D-8122-B9E3AAD5933C}" dt="2023-10-03T14:22:37.869" v="828" actId="478"/>
          <ac:spMkLst>
            <pc:docMk/>
            <pc:sldMk cId="3062153782" sldId="2147476891"/>
            <ac:spMk id="4" creationId="{4B1BF237-8EB5-DB72-54E5-CD528E3BC81C}"/>
          </ac:spMkLst>
        </pc:spChg>
        <pc:spChg chg="add mod ord">
          <ac:chgData name="IGOR Lopez Orbe" userId="ec57996b-2ae4-4e7e-b3b5-41577a83a4a5" providerId="ADAL" clId="{A083E977-882E-462D-8122-B9E3AAD5933C}" dt="2023-10-03T14:35:13.006" v="1440" actId="1035"/>
          <ac:spMkLst>
            <pc:docMk/>
            <pc:sldMk cId="3062153782" sldId="2147476891"/>
            <ac:spMk id="6" creationId="{A60C943A-B8AC-5C3F-F63C-FF29AD2ECBC1}"/>
          </ac:spMkLst>
        </pc:spChg>
        <pc:spChg chg="add del mod ord">
          <ac:chgData name="IGOR Lopez Orbe" userId="ec57996b-2ae4-4e7e-b3b5-41577a83a4a5" providerId="ADAL" clId="{A083E977-882E-462D-8122-B9E3AAD5933C}" dt="2023-10-03T14:31:32.729" v="1343" actId="1957"/>
          <ac:spMkLst>
            <pc:docMk/>
            <pc:sldMk cId="3062153782" sldId="2147476891"/>
            <ac:spMk id="7" creationId="{DAC0C3D8-BE3A-6593-7BD8-0174757F88D7}"/>
          </ac:spMkLst>
        </pc:spChg>
        <pc:spChg chg="add mod ord">
          <ac:chgData name="IGOR Lopez Orbe" userId="ec57996b-2ae4-4e7e-b3b5-41577a83a4a5" providerId="ADAL" clId="{A083E977-882E-462D-8122-B9E3AAD5933C}" dt="2023-10-03T14:26:11.195" v="938" actId="108"/>
          <ac:spMkLst>
            <pc:docMk/>
            <pc:sldMk cId="3062153782" sldId="2147476891"/>
            <ac:spMk id="8" creationId="{BD06A50D-FB09-7137-CE16-3E5E9A15BB8D}"/>
          </ac:spMkLst>
        </pc:spChg>
        <pc:spChg chg="add del mod">
          <ac:chgData name="IGOR Lopez Orbe" userId="ec57996b-2ae4-4e7e-b3b5-41577a83a4a5" providerId="ADAL" clId="{A083E977-882E-462D-8122-B9E3AAD5933C}" dt="2023-10-03T14:22:42.313" v="832" actId="478"/>
          <ac:spMkLst>
            <pc:docMk/>
            <pc:sldMk cId="3062153782" sldId="2147476891"/>
            <ac:spMk id="10" creationId="{17D6806B-9C37-1F81-17B5-D5B1B97D8440}"/>
          </ac:spMkLst>
        </pc:spChg>
        <pc:spChg chg="add del mod">
          <ac:chgData name="IGOR Lopez Orbe" userId="ec57996b-2ae4-4e7e-b3b5-41577a83a4a5" providerId="ADAL" clId="{A083E977-882E-462D-8122-B9E3AAD5933C}" dt="2023-10-03T14:22:39.703" v="831"/>
          <ac:spMkLst>
            <pc:docMk/>
            <pc:sldMk cId="3062153782" sldId="2147476891"/>
            <ac:spMk id="11" creationId="{F9E773D3-D5EA-D15B-56E1-314AEA3EDB6B}"/>
          </ac:spMkLst>
        </pc:spChg>
        <pc:spChg chg="add del mod">
          <ac:chgData name="IGOR Lopez Orbe" userId="ec57996b-2ae4-4e7e-b3b5-41577a83a4a5" providerId="ADAL" clId="{A083E977-882E-462D-8122-B9E3AAD5933C}" dt="2023-10-03T14:22:39.703" v="831"/>
          <ac:spMkLst>
            <pc:docMk/>
            <pc:sldMk cId="3062153782" sldId="2147476891"/>
            <ac:spMk id="12" creationId="{826C2773-6679-B2A4-D5FD-ACBFD6D191BA}"/>
          </ac:spMkLst>
        </pc:spChg>
        <pc:spChg chg="del mod ord">
          <ac:chgData name="IGOR Lopez Orbe" userId="ec57996b-2ae4-4e7e-b3b5-41577a83a4a5" providerId="ADAL" clId="{A083E977-882E-462D-8122-B9E3AAD5933C}" dt="2023-10-03T14:22:37.869" v="828" actId="478"/>
          <ac:spMkLst>
            <pc:docMk/>
            <pc:sldMk cId="3062153782" sldId="2147476891"/>
            <ac:spMk id="13" creationId="{925B5B00-5C62-FA4C-FD2B-28F7C46984AE}"/>
          </ac:spMkLst>
        </pc:spChg>
        <pc:spChg chg="add mod">
          <ac:chgData name="IGOR Lopez Orbe" userId="ec57996b-2ae4-4e7e-b3b5-41577a83a4a5" providerId="ADAL" clId="{A083E977-882E-462D-8122-B9E3AAD5933C}" dt="2023-10-03T14:22:42.562" v="833"/>
          <ac:spMkLst>
            <pc:docMk/>
            <pc:sldMk cId="3062153782" sldId="2147476891"/>
            <ac:spMk id="14" creationId="{53264F0A-EF60-457A-B0E0-A822291A1BF3}"/>
          </ac:spMkLst>
        </pc:spChg>
        <pc:spChg chg="add mod">
          <ac:chgData name="IGOR Lopez Orbe" userId="ec57996b-2ae4-4e7e-b3b5-41577a83a4a5" providerId="ADAL" clId="{A083E977-882E-462D-8122-B9E3AAD5933C}" dt="2023-10-03T14:22:42.562" v="833"/>
          <ac:spMkLst>
            <pc:docMk/>
            <pc:sldMk cId="3062153782" sldId="2147476891"/>
            <ac:spMk id="15" creationId="{80413438-B4A1-5963-742B-2EBE8AEF0469}"/>
          </ac:spMkLst>
        </pc:spChg>
        <pc:spChg chg="del mod ord">
          <ac:chgData name="IGOR Lopez Orbe" userId="ec57996b-2ae4-4e7e-b3b5-41577a83a4a5" providerId="ADAL" clId="{A083E977-882E-462D-8122-B9E3AAD5933C}" dt="2023-10-03T14:23:10.060" v="838" actId="478"/>
          <ac:spMkLst>
            <pc:docMk/>
            <pc:sldMk cId="3062153782" sldId="2147476891"/>
            <ac:spMk id="16" creationId="{29DE1E96-D376-4B29-F153-088461C873DB}"/>
          </ac:spMkLst>
        </pc:spChg>
        <pc:spChg chg="add mod">
          <ac:chgData name="IGOR Lopez Orbe" userId="ec57996b-2ae4-4e7e-b3b5-41577a83a4a5" providerId="ADAL" clId="{A083E977-882E-462D-8122-B9E3AAD5933C}" dt="2023-10-03T14:35:08.592" v="1429" actId="1076"/>
          <ac:spMkLst>
            <pc:docMk/>
            <pc:sldMk cId="3062153782" sldId="2147476891"/>
            <ac:spMk id="18" creationId="{BAD149D7-C6E7-4945-15E6-2D34B1257C24}"/>
          </ac:spMkLst>
        </pc:spChg>
        <pc:spChg chg="add del mod">
          <ac:chgData name="IGOR Lopez Orbe" userId="ec57996b-2ae4-4e7e-b3b5-41577a83a4a5" providerId="ADAL" clId="{A083E977-882E-462D-8122-B9E3AAD5933C}" dt="2023-10-03T14:23:12.302" v="840" actId="478"/>
          <ac:spMkLst>
            <pc:docMk/>
            <pc:sldMk cId="3062153782" sldId="2147476891"/>
            <ac:spMk id="20" creationId="{7D7BB0B5-600A-C4D3-C033-950F381F9A26}"/>
          </ac:spMkLst>
        </pc:spChg>
        <pc:spChg chg="del mod ord">
          <ac:chgData name="IGOR Lopez Orbe" userId="ec57996b-2ae4-4e7e-b3b5-41577a83a4a5" providerId="ADAL" clId="{A083E977-882E-462D-8122-B9E3AAD5933C}" dt="2023-10-03T14:22:54.162" v="834" actId="478"/>
          <ac:spMkLst>
            <pc:docMk/>
            <pc:sldMk cId="3062153782" sldId="2147476891"/>
            <ac:spMk id="21" creationId="{9C1E2355-BCC0-C4D8-7602-A7945945F9F5}"/>
          </ac:spMkLst>
        </pc:spChg>
        <pc:spChg chg="mod ord">
          <ac:chgData name="IGOR Lopez Orbe" userId="ec57996b-2ae4-4e7e-b3b5-41577a83a4a5" providerId="ADAL" clId="{A083E977-882E-462D-8122-B9E3AAD5933C}" dt="2023-10-03T14:22:15.839" v="820" actId="700"/>
          <ac:spMkLst>
            <pc:docMk/>
            <pc:sldMk cId="3062153782" sldId="2147476891"/>
            <ac:spMk id="22" creationId="{7842278E-243D-4204-741C-BE778E36E8FC}"/>
          </ac:spMkLst>
        </pc:spChg>
        <pc:spChg chg="add mod">
          <ac:chgData name="IGOR Lopez Orbe" userId="ec57996b-2ae4-4e7e-b3b5-41577a83a4a5" providerId="ADAL" clId="{A083E977-882E-462D-8122-B9E3AAD5933C}" dt="2023-10-03T14:35:13.006" v="1440" actId="1035"/>
          <ac:spMkLst>
            <pc:docMk/>
            <pc:sldMk cId="3062153782" sldId="2147476891"/>
            <ac:spMk id="27" creationId="{466DDBC2-62E5-2344-AA18-B883F496113B}"/>
          </ac:spMkLst>
        </pc:spChg>
        <pc:graphicFrameChg chg="add del mod">
          <ac:chgData name="IGOR Lopez Orbe" userId="ec57996b-2ae4-4e7e-b3b5-41577a83a4a5" providerId="ADAL" clId="{A083E977-882E-462D-8122-B9E3AAD5933C}" dt="2023-10-03T14:32:04.322" v="1346" actId="478"/>
          <ac:graphicFrameMkLst>
            <pc:docMk/>
            <pc:sldMk cId="3062153782" sldId="2147476891"/>
            <ac:graphicFrameMk id="25" creationId="{0C880367-8EAE-1A54-81A0-F8989706148D}"/>
          </ac:graphicFrameMkLst>
        </pc:graphicFrameChg>
      </pc:sldChg>
      <pc:sldChg chg="modSp add del mod">
        <pc:chgData name="IGOR Lopez Orbe" userId="ec57996b-2ae4-4e7e-b3b5-41577a83a4a5" providerId="ADAL" clId="{A083E977-882E-462D-8122-B9E3AAD5933C}" dt="2023-10-03T14:36:09.445" v="1452" actId="47"/>
        <pc:sldMkLst>
          <pc:docMk/>
          <pc:sldMk cId="1668770404" sldId="2147476892"/>
        </pc:sldMkLst>
        <pc:spChg chg="mod">
          <ac:chgData name="IGOR Lopez Orbe" userId="ec57996b-2ae4-4e7e-b3b5-41577a83a4a5" providerId="ADAL" clId="{A083E977-882E-462D-8122-B9E3AAD5933C}" dt="2023-09-21T18:42:09.950" v="201" actId="20577"/>
          <ac:spMkLst>
            <pc:docMk/>
            <pc:sldMk cId="1668770404" sldId="2147476892"/>
            <ac:spMk id="16" creationId="{29DE1E96-D376-4B29-F153-088461C873DB}"/>
          </ac:spMkLst>
        </pc:spChg>
        <pc:spChg chg="mod">
          <ac:chgData name="IGOR Lopez Orbe" userId="ec57996b-2ae4-4e7e-b3b5-41577a83a4a5" providerId="ADAL" clId="{A083E977-882E-462D-8122-B9E3AAD5933C}" dt="2023-09-21T18:42:22.016" v="206" actId="20577"/>
          <ac:spMkLst>
            <pc:docMk/>
            <pc:sldMk cId="1668770404" sldId="2147476892"/>
            <ac:spMk id="21" creationId="{9C1E2355-BCC0-C4D8-7602-A7945945F9F5}"/>
          </ac:spMkLst>
        </pc:spChg>
      </pc:sldChg>
      <pc:sldChg chg="addSp modSp add mod">
        <pc:chgData name="IGOR Lopez Orbe" userId="ec57996b-2ae4-4e7e-b3b5-41577a83a4a5" providerId="ADAL" clId="{A083E977-882E-462D-8122-B9E3AAD5933C}" dt="2023-09-22T09:11:43.880" v="640" actId="20577"/>
        <pc:sldMkLst>
          <pc:docMk/>
          <pc:sldMk cId="954076397" sldId="2147476893"/>
        </pc:sldMkLst>
        <pc:spChg chg="add mod">
          <ac:chgData name="IGOR Lopez Orbe" userId="ec57996b-2ae4-4e7e-b3b5-41577a83a4a5" providerId="ADAL" clId="{A083E977-882E-462D-8122-B9E3AAD5933C}" dt="2023-09-22T09:11:43.880" v="640" actId="20577"/>
          <ac:spMkLst>
            <pc:docMk/>
            <pc:sldMk cId="954076397" sldId="2147476893"/>
            <ac:spMk id="2" creationId="{8B4E76DD-9066-08C2-AB39-9A3E29CB1EAD}"/>
          </ac:spMkLst>
        </pc:spChg>
      </pc:sldChg>
      <pc:sldChg chg="add del">
        <pc:chgData name="IGOR Lopez Orbe" userId="ec57996b-2ae4-4e7e-b3b5-41577a83a4a5" providerId="ADAL" clId="{A083E977-882E-462D-8122-B9E3AAD5933C}" dt="2023-09-21T18:51:03.666" v="468" actId="47"/>
        <pc:sldMkLst>
          <pc:docMk/>
          <pc:sldMk cId="3018447699" sldId="2147476894"/>
        </pc:sldMkLst>
      </pc:sldChg>
      <pc:sldChg chg="modSp add mod">
        <pc:chgData name="IGOR Lopez Orbe" userId="ec57996b-2ae4-4e7e-b3b5-41577a83a4a5" providerId="ADAL" clId="{A083E977-882E-462D-8122-B9E3AAD5933C}" dt="2023-10-03T14:36:44.426" v="1470" actId="108"/>
        <pc:sldMkLst>
          <pc:docMk/>
          <pc:sldMk cId="3480168537" sldId="2147476894"/>
        </pc:sldMkLst>
        <pc:spChg chg="mod">
          <ac:chgData name="IGOR Lopez Orbe" userId="ec57996b-2ae4-4e7e-b3b5-41577a83a4a5" providerId="ADAL" clId="{A083E977-882E-462D-8122-B9E3AAD5933C}" dt="2023-10-03T14:36:44.426" v="1470" actId="108"/>
          <ac:spMkLst>
            <pc:docMk/>
            <pc:sldMk cId="3480168537" sldId="2147476894"/>
            <ac:spMk id="2" creationId="{8B4E76DD-9066-08C2-AB39-9A3E29CB1EAD}"/>
          </ac:spMkLst>
        </pc:spChg>
      </pc:sldChg>
      <pc:sldChg chg="modSp add mod">
        <pc:chgData name="IGOR Lopez Orbe" userId="ec57996b-2ae4-4e7e-b3b5-41577a83a4a5" providerId="ADAL" clId="{A083E977-882E-462D-8122-B9E3AAD5933C}" dt="2023-09-22T09:11:26.049" v="621" actId="20577"/>
        <pc:sldMkLst>
          <pc:docMk/>
          <pc:sldMk cId="1182631052" sldId="2147476895"/>
        </pc:sldMkLst>
        <pc:spChg chg="mod">
          <ac:chgData name="IGOR Lopez Orbe" userId="ec57996b-2ae4-4e7e-b3b5-41577a83a4a5" providerId="ADAL" clId="{A083E977-882E-462D-8122-B9E3AAD5933C}" dt="2023-09-22T09:11:26.049" v="621" actId="20577"/>
          <ac:spMkLst>
            <pc:docMk/>
            <pc:sldMk cId="1182631052" sldId="2147476895"/>
            <ac:spMk id="2" creationId="{8B4E76DD-9066-08C2-AB39-9A3E29CB1EAD}"/>
          </ac:spMkLst>
        </pc:spChg>
      </pc:sldChg>
      <pc:sldChg chg="add del">
        <pc:chgData name="IGOR Lopez Orbe" userId="ec57996b-2ae4-4e7e-b3b5-41577a83a4a5" providerId="ADAL" clId="{A083E977-882E-462D-8122-B9E3AAD5933C}" dt="2023-09-21T18:51:04.547" v="469" actId="47"/>
        <pc:sldMkLst>
          <pc:docMk/>
          <pc:sldMk cId="4083548506" sldId="2147476895"/>
        </pc:sldMkLst>
      </pc:sldChg>
      <pc:sldChg chg="modSp add del mod">
        <pc:chgData name="IGOR Lopez Orbe" userId="ec57996b-2ae4-4e7e-b3b5-41577a83a4a5" providerId="ADAL" clId="{A083E977-882E-462D-8122-B9E3AAD5933C}" dt="2023-10-03T14:37:21.271" v="1471" actId="47"/>
        <pc:sldMkLst>
          <pc:docMk/>
          <pc:sldMk cId="562421414" sldId="2147476896"/>
        </pc:sldMkLst>
        <pc:spChg chg="mod">
          <ac:chgData name="IGOR Lopez Orbe" userId="ec57996b-2ae4-4e7e-b3b5-41577a83a4a5" providerId="ADAL" clId="{A083E977-882E-462D-8122-B9E3AAD5933C}" dt="2023-09-22T09:12:29.752" v="662" actId="20577"/>
          <ac:spMkLst>
            <pc:docMk/>
            <pc:sldMk cId="562421414" sldId="2147476896"/>
            <ac:spMk id="2" creationId="{8B4E76DD-9066-08C2-AB39-9A3E29CB1EAD}"/>
          </ac:spMkLst>
        </pc:spChg>
      </pc:sldChg>
      <pc:sldChg chg="modSp add mod ord">
        <pc:chgData name="IGOR Lopez Orbe" userId="ec57996b-2ae4-4e7e-b3b5-41577a83a4a5" providerId="ADAL" clId="{A083E977-882E-462D-8122-B9E3AAD5933C}" dt="2023-09-22T09:12:11.785" v="653" actId="20577"/>
        <pc:sldMkLst>
          <pc:docMk/>
          <pc:sldMk cId="3475998661" sldId="2147476897"/>
        </pc:sldMkLst>
        <pc:spChg chg="mod">
          <ac:chgData name="IGOR Lopez Orbe" userId="ec57996b-2ae4-4e7e-b3b5-41577a83a4a5" providerId="ADAL" clId="{A083E977-882E-462D-8122-B9E3AAD5933C}" dt="2023-09-22T09:12:11.785" v="653" actId="20577"/>
          <ac:spMkLst>
            <pc:docMk/>
            <pc:sldMk cId="3475998661" sldId="2147476897"/>
            <ac:spMk id="2" creationId="{8B4E76DD-9066-08C2-AB39-9A3E29CB1EAD}"/>
          </ac:spMkLst>
        </pc:spChg>
      </pc:sldChg>
      <pc:sldChg chg="modSp add mod ord">
        <pc:chgData name="IGOR Lopez Orbe" userId="ec57996b-2ae4-4e7e-b3b5-41577a83a4a5" providerId="ADAL" clId="{A083E977-882E-462D-8122-B9E3AAD5933C}" dt="2023-09-22T09:42:12.163" v="663" actId="20577"/>
        <pc:sldMkLst>
          <pc:docMk/>
          <pc:sldMk cId="1050759615" sldId="2147476898"/>
        </pc:sldMkLst>
        <pc:spChg chg="mod">
          <ac:chgData name="IGOR Lopez Orbe" userId="ec57996b-2ae4-4e7e-b3b5-41577a83a4a5" providerId="ADAL" clId="{A083E977-882E-462D-8122-B9E3AAD5933C}" dt="2023-09-22T09:42:12.163" v="663" actId="20577"/>
          <ac:spMkLst>
            <pc:docMk/>
            <pc:sldMk cId="1050759615" sldId="2147476898"/>
            <ac:spMk id="2" creationId="{8B4E76DD-9066-08C2-AB39-9A3E29CB1EAD}"/>
          </ac:spMkLst>
        </pc:spChg>
      </pc:sldChg>
      <pc:sldChg chg="add del">
        <pc:chgData name="IGOR Lopez Orbe" userId="ec57996b-2ae4-4e7e-b3b5-41577a83a4a5" providerId="ADAL" clId="{A083E977-882E-462D-8122-B9E3AAD5933C}" dt="2023-10-03T14:20:00.960" v="807" actId="47"/>
        <pc:sldMkLst>
          <pc:docMk/>
          <pc:sldMk cId="3690370676" sldId="2147476937"/>
        </pc:sldMkLst>
      </pc:sldChg>
      <pc:sldChg chg="add del">
        <pc:chgData name="IGOR Lopez Orbe" userId="ec57996b-2ae4-4e7e-b3b5-41577a83a4a5" providerId="ADAL" clId="{A083E977-882E-462D-8122-B9E3AAD5933C}" dt="2023-10-03T14:20:00.960" v="807" actId="47"/>
        <pc:sldMkLst>
          <pc:docMk/>
          <pc:sldMk cId="294875851" sldId="2147476938"/>
        </pc:sldMkLst>
      </pc:sldChg>
      <pc:sldChg chg="add del">
        <pc:chgData name="IGOR Lopez Orbe" userId="ec57996b-2ae4-4e7e-b3b5-41577a83a4a5" providerId="ADAL" clId="{A083E977-882E-462D-8122-B9E3AAD5933C}" dt="2023-10-03T14:20:00.960" v="807" actId="47"/>
        <pc:sldMkLst>
          <pc:docMk/>
          <pc:sldMk cId="2823575545" sldId="2147476939"/>
        </pc:sldMkLst>
      </pc:sldChg>
      <pc:sldChg chg="add del">
        <pc:chgData name="IGOR Lopez Orbe" userId="ec57996b-2ae4-4e7e-b3b5-41577a83a4a5" providerId="ADAL" clId="{A083E977-882E-462D-8122-B9E3AAD5933C}" dt="2023-10-03T14:20:00.960" v="807" actId="47"/>
        <pc:sldMkLst>
          <pc:docMk/>
          <pc:sldMk cId="4035576207" sldId="2147476941"/>
        </pc:sldMkLst>
      </pc:sldChg>
      <pc:sldChg chg="add del">
        <pc:chgData name="IGOR Lopez Orbe" userId="ec57996b-2ae4-4e7e-b3b5-41577a83a4a5" providerId="ADAL" clId="{A083E977-882E-462D-8122-B9E3AAD5933C}" dt="2023-10-03T14:20:00.960" v="807" actId="47"/>
        <pc:sldMkLst>
          <pc:docMk/>
          <pc:sldMk cId="2908249124" sldId="2147476943"/>
        </pc:sldMkLst>
      </pc:sldChg>
      <pc:sldChg chg="add del">
        <pc:chgData name="IGOR Lopez Orbe" userId="ec57996b-2ae4-4e7e-b3b5-41577a83a4a5" providerId="ADAL" clId="{A083E977-882E-462D-8122-B9E3AAD5933C}" dt="2023-10-03T14:20:00.960" v="807" actId="47"/>
        <pc:sldMkLst>
          <pc:docMk/>
          <pc:sldMk cId="1587134664" sldId="2147476952"/>
        </pc:sldMkLst>
      </pc:sldChg>
      <pc:sldChg chg="add del">
        <pc:chgData name="IGOR Lopez Orbe" userId="ec57996b-2ae4-4e7e-b3b5-41577a83a4a5" providerId="ADAL" clId="{A083E977-882E-462D-8122-B9E3AAD5933C}" dt="2023-10-03T14:20:00.960" v="807" actId="47"/>
        <pc:sldMkLst>
          <pc:docMk/>
          <pc:sldMk cId="2483048015" sldId="2147476960"/>
        </pc:sldMkLst>
      </pc:sldChg>
      <pc:sldChg chg="add del">
        <pc:chgData name="IGOR Lopez Orbe" userId="ec57996b-2ae4-4e7e-b3b5-41577a83a4a5" providerId="ADAL" clId="{A083E977-882E-462D-8122-B9E3AAD5933C}" dt="2023-10-03T14:20:00.960" v="807" actId="47"/>
        <pc:sldMkLst>
          <pc:docMk/>
          <pc:sldMk cId="4102168322" sldId="2147476965"/>
        </pc:sldMkLst>
      </pc:sldChg>
      <pc:sldChg chg="add del">
        <pc:chgData name="IGOR Lopez Orbe" userId="ec57996b-2ae4-4e7e-b3b5-41577a83a4a5" providerId="ADAL" clId="{A083E977-882E-462D-8122-B9E3AAD5933C}" dt="2023-10-03T14:20:00.960" v="807" actId="47"/>
        <pc:sldMkLst>
          <pc:docMk/>
          <pc:sldMk cId="1542439057" sldId="2147476967"/>
        </pc:sldMkLst>
      </pc:sldChg>
      <pc:sldChg chg="add del">
        <pc:chgData name="IGOR Lopez Orbe" userId="ec57996b-2ae4-4e7e-b3b5-41577a83a4a5" providerId="ADAL" clId="{A083E977-882E-462D-8122-B9E3AAD5933C}" dt="2023-10-03T14:20:00.960" v="807" actId="47"/>
        <pc:sldMkLst>
          <pc:docMk/>
          <pc:sldMk cId="1333227755" sldId="2147476968"/>
        </pc:sldMkLst>
      </pc:sldChg>
      <pc:sldChg chg="add del">
        <pc:chgData name="IGOR Lopez Orbe" userId="ec57996b-2ae4-4e7e-b3b5-41577a83a4a5" providerId="ADAL" clId="{A083E977-882E-462D-8122-B9E3AAD5933C}" dt="2023-10-03T14:20:00.960" v="807" actId="47"/>
        <pc:sldMkLst>
          <pc:docMk/>
          <pc:sldMk cId="3142878399" sldId="2147476969"/>
        </pc:sldMkLst>
      </pc:sldChg>
      <pc:sldChg chg="add del">
        <pc:chgData name="IGOR Lopez Orbe" userId="ec57996b-2ae4-4e7e-b3b5-41577a83a4a5" providerId="ADAL" clId="{A083E977-882E-462D-8122-B9E3AAD5933C}" dt="2023-10-03T14:20:00.960" v="807" actId="47"/>
        <pc:sldMkLst>
          <pc:docMk/>
          <pc:sldMk cId="853707019" sldId="2147476970"/>
        </pc:sldMkLst>
      </pc:sldChg>
      <pc:sldChg chg="add del">
        <pc:chgData name="IGOR Lopez Orbe" userId="ec57996b-2ae4-4e7e-b3b5-41577a83a4a5" providerId="ADAL" clId="{A083E977-882E-462D-8122-B9E3AAD5933C}" dt="2023-10-03T14:20:00.960" v="807" actId="47"/>
        <pc:sldMkLst>
          <pc:docMk/>
          <pc:sldMk cId="3946908259" sldId="2147476971"/>
        </pc:sldMkLst>
      </pc:sldChg>
      <pc:sldChg chg="addSp delSp modSp add del mod">
        <pc:chgData name="IGOR Lopez Orbe" userId="ec57996b-2ae4-4e7e-b3b5-41577a83a4a5" providerId="ADAL" clId="{A083E977-882E-462D-8122-B9E3AAD5933C}" dt="2023-10-03T14:10:48.421" v="705"/>
        <pc:sldMkLst>
          <pc:docMk/>
          <pc:sldMk cId="3579849899" sldId="2147476972"/>
        </pc:sldMkLst>
        <pc:spChg chg="add del">
          <ac:chgData name="IGOR Lopez Orbe" userId="ec57996b-2ae4-4e7e-b3b5-41577a83a4a5" providerId="ADAL" clId="{A083E977-882E-462D-8122-B9E3AAD5933C}" dt="2023-10-03T14:10:46.770" v="701" actId="478"/>
          <ac:spMkLst>
            <pc:docMk/>
            <pc:sldMk cId="3579849899" sldId="2147476972"/>
            <ac:spMk id="2" creationId="{1ABCEE4C-4C91-1AB7-6C8B-7A4713A0F113}"/>
          </ac:spMkLst>
        </pc:spChg>
        <pc:spChg chg="add del">
          <ac:chgData name="IGOR Lopez Orbe" userId="ec57996b-2ae4-4e7e-b3b5-41577a83a4a5" providerId="ADAL" clId="{A083E977-882E-462D-8122-B9E3AAD5933C}" dt="2023-10-03T14:10:46.770" v="701" actId="478"/>
          <ac:spMkLst>
            <pc:docMk/>
            <pc:sldMk cId="3579849899" sldId="2147476972"/>
            <ac:spMk id="4" creationId="{52B5DBD6-9C8F-F89C-060F-76B5E047F198}"/>
          </ac:spMkLst>
        </pc:spChg>
        <pc:spChg chg="add del">
          <ac:chgData name="IGOR Lopez Orbe" userId="ec57996b-2ae4-4e7e-b3b5-41577a83a4a5" providerId="ADAL" clId="{A083E977-882E-462D-8122-B9E3AAD5933C}" dt="2023-10-03T14:10:46.770" v="701" actId="478"/>
          <ac:spMkLst>
            <pc:docMk/>
            <pc:sldMk cId="3579849899" sldId="2147476972"/>
            <ac:spMk id="6" creationId="{A5BB4343-9460-F62B-78E7-843E6D173FDA}"/>
          </ac:spMkLst>
        </pc:spChg>
        <pc:spChg chg="add del">
          <ac:chgData name="IGOR Lopez Orbe" userId="ec57996b-2ae4-4e7e-b3b5-41577a83a4a5" providerId="ADAL" clId="{A083E977-882E-462D-8122-B9E3AAD5933C}" dt="2023-10-03T14:10:46.770" v="701" actId="478"/>
          <ac:spMkLst>
            <pc:docMk/>
            <pc:sldMk cId="3579849899" sldId="2147476972"/>
            <ac:spMk id="7" creationId="{722F2F3F-65E9-B7DC-1014-16784D309E26}"/>
          </ac:spMkLst>
        </pc:spChg>
        <pc:spChg chg="add del">
          <ac:chgData name="IGOR Lopez Orbe" userId="ec57996b-2ae4-4e7e-b3b5-41577a83a4a5" providerId="ADAL" clId="{A083E977-882E-462D-8122-B9E3AAD5933C}" dt="2023-10-03T14:10:47.275" v="702" actId="478"/>
          <ac:spMkLst>
            <pc:docMk/>
            <pc:sldMk cId="3579849899" sldId="2147476972"/>
            <ac:spMk id="10" creationId="{2BEBFDC0-D530-8625-2B48-3AE779898CF2}"/>
          </ac:spMkLst>
        </pc:spChg>
        <pc:spChg chg="add del mod">
          <ac:chgData name="IGOR Lopez Orbe" userId="ec57996b-2ae4-4e7e-b3b5-41577a83a4a5" providerId="ADAL" clId="{A083E977-882E-462D-8122-B9E3AAD5933C}" dt="2023-10-03T14:10:46.276" v="700"/>
          <ac:spMkLst>
            <pc:docMk/>
            <pc:sldMk cId="3579849899" sldId="2147476972"/>
            <ac:spMk id="12" creationId="{CCC1BDCE-29D4-E49E-3A7C-E34B3D8C3792}"/>
          </ac:spMkLst>
        </pc:spChg>
        <pc:spChg chg="add del mod">
          <ac:chgData name="IGOR Lopez Orbe" userId="ec57996b-2ae4-4e7e-b3b5-41577a83a4a5" providerId="ADAL" clId="{A083E977-882E-462D-8122-B9E3AAD5933C}" dt="2023-10-03T14:10:46.276" v="700"/>
          <ac:spMkLst>
            <pc:docMk/>
            <pc:sldMk cId="3579849899" sldId="2147476972"/>
            <ac:spMk id="13" creationId="{A773DC0C-0B9F-2CC9-73A3-AD3AE5963A81}"/>
          </ac:spMkLst>
        </pc:spChg>
        <pc:spChg chg="mod">
          <ac:chgData name="IGOR Lopez Orbe" userId="ec57996b-2ae4-4e7e-b3b5-41577a83a4a5" providerId="ADAL" clId="{A083E977-882E-462D-8122-B9E3AAD5933C}" dt="2023-10-03T14:09:38.854" v="681"/>
          <ac:spMkLst>
            <pc:docMk/>
            <pc:sldMk cId="3579849899" sldId="2147476972"/>
            <ac:spMk id="15" creationId="{058910B4-8D5E-F216-65F6-DD0D9D6EE428}"/>
          </ac:spMkLst>
        </pc:spChg>
        <pc:spChg chg="mod">
          <ac:chgData name="IGOR Lopez Orbe" userId="ec57996b-2ae4-4e7e-b3b5-41577a83a4a5" providerId="ADAL" clId="{A083E977-882E-462D-8122-B9E3AAD5933C}" dt="2023-10-03T14:09:38.854" v="681"/>
          <ac:spMkLst>
            <pc:docMk/>
            <pc:sldMk cId="3579849899" sldId="2147476972"/>
            <ac:spMk id="16" creationId="{5103F4D4-F8B0-E5FC-2A23-B07C617E6FE2}"/>
          </ac:spMkLst>
        </pc:spChg>
        <pc:spChg chg="mod">
          <ac:chgData name="IGOR Lopez Orbe" userId="ec57996b-2ae4-4e7e-b3b5-41577a83a4a5" providerId="ADAL" clId="{A083E977-882E-462D-8122-B9E3AAD5933C}" dt="2023-10-03T14:09:38.854" v="681"/>
          <ac:spMkLst>
            <pc:docMk/>
            <pc:sldMk cId="3579849899" sldId="2147476972"/>
            <ac:spMk id="17" creationId="{781A6589-3A26-5605-9EEB-CA630EA87F14}"/>
          </ac:spMkLst>
        </pc:spChg>
        <pc:spChg chg="mod">
          <ac:chgData name="IGOR Lopez Orbe" userId="ec57996b-2ae4-4e7e-b3b5-41577a83a4a5" providerId="ADAL" clId="{A083E977-882E-462D-8122-B9E3AAD5933C}" dt="2023-10-03T14:09:38.854" v="681"/>
          <ac:spMkLst>
            <pc:docMk/>
            <pc:sldMk cId="3579849899" sldId="2147476972"/>
            <ac:spMk id="18" creationId="{5A00EA42-693B-19D4-99E6-DFEF352669E4}"/>
          </ac:spMkLst>
        </pc:spChg>
        <pc:spChg chg="add del">
          <ac:chgData name="IGOR Lopez Orbe" userId="ec57996b-2ae4-4e7e-b3b5-41577a83a4a5" providerId="ADAL" clId="{A083E977-882E-462D-8122-B9E3AAD5933C}" dt="2023-10-03T14:10:46.770" v="701" actId="478"/>
          <ac:spMkLst>
            <pc:docMk/>
            <pc:sldMk cId="3579849899" sldId="2147476972"/>
            <ac:spMk id="19" creationId="{233F640B-239E-C790-FA73-8C12E3818A52}"/>
          </ac:spMkLst>
        </pc:spChg>
        <pc:spChg chg="add del mod">
          <ac:chgData name="IGOR Lopez Orbe" userId="ec57996b-2ae4-4e7e-b3b5-41577a83a4a5" providerId="ADAL" clId="{A083E977-882E-462D-8122-B9E3AAD5933C}" dt="2023-10-03T14:10:46.276" v="700"/>
          <ac:spMkLst>
            <pc:docMk/>
            <pc:sldMk cId="3579849899" sldId="2147476972"/>
            <ac:spMk id="31" creationId="{F9D3D91F-8A87-C66A-6E05-E34C042E4D75}"/>
          </ac:spMkLst>
        </pc:spChg>
        <pc:spChg chg="add del mod">
          <ac:chgData name="IGOR Lopez Orbe" userId="ec57996b-2ae4-4e7e-b3b5-41577a83a4a5" providerId="ADAL" clId="{A083E977-882E-462D-8122-B9E3AAD5933C}" dt="2023-10-03T14:10:46.276" v="700"/>
          <ac:spMkLst>
            <pc:docMk/>
            <pc:sldMk cId="3579849899" sldId="2147476972"/>
            <ac:spMk id="32" creationId="{565ABFAE-A433-9781-3D78-85A660F7EC40}"/>
          </ac:spMkLst>
        </pc:spChg>
        <pc:spChg chg="add del mod">
          <ac:chgData name="IGOR Lopez Orbe" userId="ec57996b-2ae4-4e7e-b3b5-41577a83a4a5" providerId="ADAL" clId="{A083E977-882E-462D-8122-B9E3AAD5933C}" dt="2023-10-03T14:10:46.276" v="700"/>
          <ac:spMkLst>
            <pc:docMk/>
            <pc:sldMk cId="3579849899" sldId="2147476972"/>
            <ac:spMk id="33" creationId="{80824064-3A85-B073-F399-7DB2BDC2BFE0}"/>
          </ac:spMkLst>
        </pc:spChg>
        <pc:spChg chg="add del mod">
          <ac:chgData name="IGOR Lopez Orbe" userId="ec57996b-2ae4-4e7e-b3b5-41577a83a4a5" providerId="ADAL" clId="{A083E977-882E-462D-8122-B9E3AAD5933C}" dt="2023-10-03T14:10:46.276" v="700"/>
          <ac:spMkLst>
            <pc:docMk/>
            <pc:sldMk cId="3579849899" sldId="2147476972"/>
            <ac:spMk id="34" creationId="{A4240679-48E7-9F16-0285-B83825254289}"/>
          </ac:spMkLst>
        </pc:spChg>
        <pc:grpChg chg="add del">
          <ac:chgData name="IGOR Lopez Orbe" userId="ec57996b-2ae4-4e7e-b3b5-41577a83a4a5" providerId="ADAL" clId="{A083E977-882E-462D-8122-B9E3AAD5933C}" dt="2023-10-03T14:10:46.770" v="701" actId="478"/>
          <ac:grpSpMkLst>
            <pc:docMk/>
            <pc:sldMk cId="3579849899" sldId="2147476972"/>
            <ac:grpSpMk id="8" creationId="{46B82F95-6606-0B91-111C-6379BA5493FD}"/>
          </ac:grpSpMkLst>
        </pc:grpChg>
        <pc:grpChg chg="add del mod">
          <ac:chgData name="IGOR Lopez Orbe" userId="ec57996b-2ae4-4e7e-b3b5-41577a83a4a5" providerId="ADAL" clId="{A083E977-882E-462D-8122-B9E3AAD5933C}" dt="2023-10-03T14:10:46.276" v="700"/>
          <ac:grpSpMkLst>
            <pc:docMk/>
            <pc:sldMk cId="3579849899" sldId="2147476972"/>
            <ac:grpSpMk id="14" creationId="{E25399B2-5B5C-35C1-90E4-8D4E2759BCDB}"/>
          </ac:grpSpMkLst>
        </pc:grpChg>
        <pc:grpChg chg="mod">
          <ac:chgData name="IGOR Lopez Orbe" userId="ec57996b-2ae4-4e7e-b3b5-41577a83a4a5" providerId="ADAL" clId="{A083E977-882E-462D-8122-B9E3AAD5933C}" dt="2023-10-03T14:09:38.854" v="681"/>
          <ac:grpSpMkLst>
            <pc:docMk/>
            <pc:sldMk cId="3579849899" sldId="2147476972"/>
            <ac:grpSpMk id="21" creationId="{48648702-A8F8-6A85-EC10-29C639CFDE96}"/>
          </ac:grpSpMkLst>
        </pc:grpChg>
        <pc:picChg chg="add del mod modCrop">
          <ac:chgData name="IGOR Lopez Orbe" userId="ec57996b-2ae4-4e7e-b3b5-41577a83a4a5" providerId="ADAL" clId="{A083E977-882E-462D-8122-B9E3AAD5933C}" dt="2023-10-03T14:10:44.035" v="696"/>
          <ac:picMkLst>
            <pc:docMk/>
            <pc:sldMk cId="3579849899" sldId="2147476972"/>
            <ac:picMk id="40" creationId="{B1ECEDFF-C183-4338-88D8-A99627E84872}"/>
          </ac:picMkLst>
        </pc:picChg>
        <pc:cxnChg chg="add del">
          <ac:chgData name="IGOR Lopez Orbe" userId="ec57996b-2ae4-4e7e-b3b5-41577a83a4a5" providerId="ADAL" clId="{A083E977-882E-462D-8122-B9E3AAD5933C}" dt="2023-10-03T14:10:46.770" v="701" actId="478"/>
          <ac:cxnSpMkLst>
            <pc:docMk/>
            <pc:sldMk cId="3579849899" sldId="2147476972"/>
            <ac:cxnSpMk id="20" creationId="{D13EDFD4-FCB1-7AF3-A48C-F201733D46FC}"/>
          </ac:cxnSpMkLst>
        </pc:cxnChg>
        <pc:cxnChg chg="add del">
          <ac:chgData name="IGOR Lopez Orbe" userId="ec57996b-2ae4-4e7e-b3b5-41577a83a4a5" providerId="ADAL" clId="{A083E977-882E-462D-8122-B9E3AAD5933C}" dt="2023-10-03T14:10:46.770" v="701" actId="478"/>
          <ac:cxnSpMkLst>
            <pc:docMk/>
            <pc:sldMk cId="3579849899" sldId="2147476972"/>
            <ac:cxnSpMk id="25" creationId="{EA897228-0748-A00A-DE5D-53E0BC697982}"/>
          </ac:cxnSpMkLst>
        </pc:cxnChg>
        <pc:cxnChg chg="add del">
          <ac:chgData name="IGOR Lopez Orbe" userId="ec57996b-2ae4-4e7e-b3b5-41577a83a4a5" providerId="ADAL" clId="{A083E977-882E-462D-8122-B9E3AAD5933C}" dt="2023-10-03T14:10:46.770" v="701" actId="478"/>
          <ac:cxnSpMkLst>
            <pc:docMk/>
            <pc:sldMk cId="3579849899" sldId="2147476972"/>
            <ac:cxnSpMk id="27" creationId="{B1B90B20-E798-8E85-8914-E2B699E2EAB6}"/>
          </ac:cxnSpMkLst>
        </pc:cxnChg>
        <pc:cxnChg chg="mod">
          <ac:chgData name="IGOR Lopez Orbe" userId="ec57996b-2ae4-4e7e-b3b5-41577a83a4a5" providerId="ADAL" clId="{A083E977-882E-462D-8122-B9E3AAD5933C}" dt="2023-10-03T14:09:38.854" v="681"/>
          <ac:cxnSpMkLst>
            <pc:docMk/>
            <pc:sldMk cId="3579849899" sldId="2147476972"/>
            <ac:cxnSpMk id="28" creationId="{1C6058A2-E7E1-F3D9-B338-032C4DE5A295}"/>
          </ac:cxnSpMkLst>
        </pc:cxnChg>
        <pc:cxnChg chg="mod">
          <ac:chgData name="IGOR Lopez Orbe" userId="ec57996b-2ae4-4e7e-b3b5-41577a83a4a5" providerId="ADAL" clId="{A083E977-882E-462D-8122-B9E3AAD5933C}" dt="2023-10-03T14:09:38.854" v="681"/>
          <ac:cxnSpMkLst>
            <pc:docMk/>
            <pc:sldMk cId="3579849899" sldId="2147476972"/>
            <ac:cxnSpMk id="29" creationId="{BC8D7959-4E50-576E-A807-2BC26959BC77}"/>
          </ac:cxnSpMkLst>
        </pc:cxnChg>
        <pc:cxnChg chg="mod">
          <ac:chgData name="IGOR Lopez Orbe" userId="ec57996b-2ae4-4e7e-b3b5-41577a83a4a5" providerId="ADAL" clId="{A083E977-882E-462D-8122-B9E3AAD5933C}" dt="2023-10-03T14:09:38.854" v="681"/>
          <ac:cxnSpMkLst>
            <pc:docMk/>
            <pc:sldMk cId="3579849899" sldId="2147476972"/>
            <ac:cxnSpMk id="30" creationId="{0837BCB6-CC16-0353-22E5-08B779E3F7FD}"/>
          </ac:cxnSpMkLst>
        </pc:cxnChg>
        <pc:cxnChg chg="add del mod">
          <ac:chgData name="IGOR Lopez Orbe" userId="ec57996b-2ae4-4e7e-b3b5-41577a83a4a5" providerId="ADAL" clId="{A083E977-882E-462D-8122-B9E3AAD5933C}" dt="2023-10-03T14:10:46.276" v="700"/>
          <ac:cxnSpMkLst>
            <pc:docMk/>
            <pc:sldMk cId="3579849899" sldId="2147476972"/>
            <ac:cxnSpMk id="35" creationId="{6D49636E-A3FA-CBE8-EB2A-DC4CECF7A24F}"/>
          </ac:cxnSpMkLst>
        </pc:cxnChg>
        <pc:cxnChg chg="add del mod">
          <ac:chgData name="IGOR Lopez Orbe" userId="ec57996b-2ae4-4e7e-b3b5-41577a83a4a5" providerId="ADAL" clId="{A083E977-882E-462D-8122-B9E3AAD5933C}" dt="2023-10-03T14:10:46.276" v="700"/>
          <ac:cxnSpMkLst>
            <pc:docMk/>
            <pc:sldMk cId="3579849899" sldId="2147476972"/>
            <ac:cxnSpMk id="36" creationId="{E864FE88-A487-A2C0-D43E-E26AB1DE7D05}"/>
          </ac:cxnSpMkLst>
        </pc:cxnChg>
        <pc:cxnChg chg="add del mod">
          <ac:chgData name="IGOR Lopez Orbe" userId="ec57996b-2ae4-4e7e-b3b5-41577a83a4a5" providerId="ADAL" clId="{A083E977-882E-462D-8122-B9E3AAD5933C}" dt="2023-10-03T14:10:46.276" v="700"/>
          <ac:cxnSpMkLst>
            <pc:docMk/>
            <pc:sldMk cId="3579849899" sldId="2147476972"/>
            <ac:cxnSpMk id="37" creationId="{06F61D26-A2E7-3803-A0DE-8784EF7FED84}"/>
          </ac:cxnSpMkLst>
        </pc:cxnChg>
      </pc:sldChg>
      <pc:sldChg chg="addSp modSp add mod">
        <pc:chgData name="IGOR Lopez Orbe" userId="ec57996b-2ae4-4e7e-b3b5-41577a83a4a5" providerId="ADAL" clId="{A083E977-882E-462D-8122-B9E3AAD5933C}" dt="2023-10-03T14:12:04.465" v="738" actId="20577"/>
        <pc:sldMkLst>
          <pc:docMk/>
          <pc:sldMk cId="3657837914" sldId="2147476972"/>
        </pc:sldMkLst>
        <pc:spChg chg="mod">
          <ac:chgData name="IGOR Lopez Orbe" userId="ec57996b-2ae4-4e7e-b3b5-41577a83a4a5" providerId="ADAL" clId="{A083E977-882E-462D-8122-B9E3AAD5933C}" dt="2023-10-03T14:12:04.465" v="738" actId="20577"/>
          <ac:spMkLst>
            <pc:docMk/>
            <pc:sldMk cId="3657837914" sldId="2147476972"/>
            <ac:spMk id="16" creationId="{29DE1E96-D376-4B29-F153-088461C873DB}"/>
          </ac:spMkLst>
        </pc:spChg>
        <pc:picChg chg="add">
          <ac:chgData name="IGOR Lopez Orbe" userId="ec57996b-2ae4-4e7e-b3b5-41577a83a4a5" providerId="ADAL" clId="{A083E977-882E-462D-8122-B9E3AAD5933C}" dt="2023-10-03T14:11:55.415" v="729"/>
          <ac:picMkLst>
            <pc:docMk/>
            <pc:sldMk cId="3657837914" sldId="2147476972"/>
            <ac:picMk id="2" creationId="{1D6DF1CE-4D95-92C2-3E04-5F9013365D9F}"/>
          </ac:picMkLst>
        </pc:picChg>
      </pc:sldChg>
      <pc:sldChg chg="addSp delSp modSp add mod">
        <pc:chgData name="IGOR Lopez Orbe" userId="ec57996b-2ae4-4e7e-b3b5-41577a83a4a5" providerId="ADAL" clId="{A083E977-882E-462D-8122-B9E3AAD5933C}" dt="2023-10-03T14:13:49.061" v="761" actId="478"/>
        <pc:sldMkLst>
          <pc:docMk/>
          <pc:sldMk cId="406739151" sldId="2147476973"/>
        </pc:sldMkLst>
        <pc:spChg chg="add mod">
          <ac:chgData name="IGOR Lopez Orbe" userId="ec57996b-2ae4-4e7e-b3b5-41577a83a4a5" providerId="ADAL" clId="{A083E977-882E-462D-8122-B9E3AAD5933C}" dt="2023-10-03T14:12:22.703" v="742"/>
          <ac:spMkLst>
            <pc:docMk/>
            <pc:sldMk cId="406739151" sldId="2147476973"/>
            <ac:spMk id="3" creationId="{D01E3863-6681-2E0D-66AC-C452E3344884}"/>
          </ac:spMkLst>
        </pc:spChg>
        <pc:spChg chg="add mod">
          <ac:chgData name="IGOR Lopez Orbe" userId="ec57996b-2ae4-4e7e-b3b5-41577a83a4a5" providerId="ADAL" clId="{A083E977-882E-462D-8122-B9E3AAD5933C}" dt="2023-10-03T14:12:26.026" v="744" actId="20577"/>
          <ac:spMkLst>
            <pc:docMk/>
            <pc:sldMk cId="406739151" sldId="2147476973"/>
            <ac:spMk id="4" creationId="{B343E85A-7E75-A55D-C119-D712A14C8CDB}"/>
          </ac:spMkLst>
        </pc:spChg>
        <pc:graphicFrameChg chg="add mod">
          <ac:chgData name="IGOR Lopez Orbe" userId="ec57996b-2ae4-4e7e-b3b5-41577a83a4a5" providerId="ADAL" clId="{A083E977-882E-462D-8122-B9E3AAD5933C}" dt="2023-10-03T14:12:22.703" v="742"/>
          <ac:graphicFrameMkLst>
            <pc:docMk/>
            <pc:sldMk cId="406739151" sldId="2147476973"/>
            <ac:graphicFrameMk id="10" creationId="{12EDED84-0F52-4E63-7347-BF674A127F53}"/>
          </ac:graphicFrameMkLst>
        </pc:graphicFrameChg>
        <pc:picChg chg="del">
          <ac:chgData name="IGOR Lopez Orbe" userId="ec57996b-2ae4-4e7e-b3b5-41577a83a4a5" providerId="ADAL" clId="{A083E977-882E-462D-8122-B9E3AAD5933C}" dt="2023-10-03T14:12:12.670" v="741" actId="478"/>
          <ac:picMkLst>
            <pc:docMk/>
            <pc:sldMk cId="406739151" sldId="2147476973"/>
            <ac:picMk id="2" creationId="{1D6DF1CE-4D95-92C2-3E04-5F9013365D9F}"/>
          </ac:picMkLst>
        </pc:picChg>
        <pc:picChg chg="add mod">
          <ac:chgData name="IGOR Lopez Orbe" userId="ec57996b-2ae4-4e7e-b3b5-41577a83a4a5" providerId="ADAL" clId="{A083E977-882E-462D-8122-B9E3AAD5933C}" dt="2023-10-03T14:12:22.703" v="742"/>
          <ac:picMkLst>
            <pc:docMk/>
            <pc:sldMk cId="406739151" sldId="2147476973"/>
            <ac:picMk id="6" creationId="{40137484-E80F-3640-217D-C0AB8F8D084A}"/>
          </ac:picMkLst>
        </pc:picChg>
        <pc:picChg chg="add mod">
          <ac:chgData name="IGOR Lopez Orbe" userId="ec57996b-2ae4-4e7e-b3b5-41577a83a4a5" providerId="ADAL" clId="{A083E977-882E-462D-8122-B9E3AAD5933C}" dt="2023-10-03T14:12:22.703" v="742"/>
          <ac:picMkLst>
            <pc:docMk/>
            <pc:sldMk cId="406739151" sldId="2147476973"/>
            <ac:picMk id="7" creationId="{259514D1-419C-E0E3-B65B-C654907EB63C}"/>
          </ac:picMkLst>
        </pc:picChg>
        <pc:picChg chg="add mod">
          <ac:chgData name="IGOR Lopez Orbe" userId="ec57996b-2ae4-4e7e-b3b5-41577a83a4a5" providerId="ADAL" clId="{A083E977-882E-462D-8122-B9E3AAD5933C}" dt="2023-10-03T14:12:22.703" v="742"/>
          <ac:picMkLst>
            <pc:docMk/>
            <pc:sldMk cId="406739151" sldId="2147476973"/>
            <ac:picMk id="8" creationId="{EF68802A-36D9-7FA6-0E66-AEAB2D435866}"/>
          </ac:picMkLst>
        </pc:picChg>
        <pc:cxnChg chg="add del mod">
          <ac:chgData name="IGOR Lopez Orbe" userId="ec57996b-2ae4-4e7e-b3b5-41577a83a4a5" providerId="ADAL" clId="{A083E977-882E-462D-8122-B9E3AAD5933C}" dt="2023-10-03T14:13:49.061" v="761" actId="478"/>
          <ac:cxnSpMkLst>
            <pc:docMk/>
            <pc:sldMk cId="406739151" sldId="2147476973"/>
            <ac:cxnSpMk id="9" creationId="{0BADDDD6-10B4-1920-1DEB-1C2BBAFD7A00}"/>
          </ac:cxnSpMkLst>
        </pc:cxnChg>
      </pc:sldChg>
      <pc:sldChg chg="add del">
        <pc:chgData name="IGOR Lopez Orbe" userId="ec57996b-2ae4-4e7e-b3b5-41577a83a4a5" providerId="ADAL" clId="{A083E977-882E-462D-8122-B9E3AAD5933C}" dt="2023-10-03T14:10:47.889" v="704"/>
        <pc:sldMkLst>
          <pc:docMk/>
          <pc:sldMk cId="1086951777" sldId="2147476973"/>
        </pc:sldMkLst>
      </pc:sldChg>
      <pc:sldChg chg="addSp delSp modSp add mod">
        <pc:chgData name="IGOR Lopez Orbe" userId="ec57996b-2ae4-4e7e-b3b5-41577a83a4a5" providerId="ADAL" clId="{A083E977-882E-462D-8122-B9E3AAD5933C}" dt="2023-10-03T14:13:52.479" v="762" actId="478"/>
        <pc:sldMkLst>
          <pc:docMk/>
          <pc:sldMk cId="1578142637" sldId="2147476974"/>
        </pc:sldMkLst>
        <pc:spChg chg="del">
          <ac:chgData name="IGOR Lopez Orbe" userId="ec57996b-2ae4-4e7e-b3b5-41577a83a4a5" providerId="ADAL" clId="{A083E977-882E-462D-8122-B9E3AAD5933C}" dt="2023-10-03T14:12:38.710" v="747" actId="478"/>
          <ac:spMkLst>
            <pc:docMk/>
            <pc:sldMk cId="1578142637" sldId="2147476974"/>
            <ac:spMk id="3" creationId="{D01E3863-6681-2E0D-66AC-C452E3344884}"/>
          </ac:spMkLst>
        </pc:spChg>
        <pc:spChg chg="del">
          <ac:chgData name="IGOR Lopez Orbe" userId="ec57996b-2ae4-4e7e-b3b5-41577a83a4a5" providerId="ADAL" clId="{A083E977-882E-462D-8122-B9E3AAD5933C}" dt="2023-10-03T14:12:38.710" v="747" actId="478"/>
          <ac:spMkLst>
            <pc:docMk/>
            <pc:sldMk cId="1578142637" sldId="2147476974"/>
            <ac:spMk id="4" creationId="{B343E85A-7E75-A55D-C119-D712A14C8CDB}"/>
          </ac:spMkLst>
        </pc:spChg>
        <pc:spChg chg="add mod">
          <ac:chgData name="IGOR Lopez Orbe" userId="ec57996b-2ae4-4e7e-b3b5-41577a83a4a5" providerId="ADAL" clId="{A083E977-882E-462D-8122-B9E3AAD5933C}" dt="2023-10-03T14:12:45.772" v="748"/>
          <ac:spMkLst>
            <pc:docMk/>
            <pc:sldMk cId="1578142637" sldId="2147476974"/>
            <ac:spMk id="14" creationId="{D9DFD7F7-D748-A62E-2327-DB7E6992F406}"/>
          </ac:spMkLst>
        </pc:spChg>
        <pc:spChg chg="add mod">
          <ac:chgData name="IGOR Lopez Orbe" userId="ec57996b-2ae4-4e7e-b3b5-41577a83a4a5" providerId="ADAL" clId="{A083E977-882E-462D-8122-B9E3AAD5933C}" dt="2023-10-03T14:12:45.772" v="748"/>
          <ac:spMkLst>
            <pc:docMk/>
            <pc:sldMk cId="1578142637" sldId="2147476974"/>
            <ac:spMk id="15" creationId="{AEA05C1B-5AED-2656-CDA2-5962F131A948}"/>
          </ac:spMkLst>
        </pc:spChg>
        <pc:graphicFrameChg chg="del">
          <ac:chgData name="IGOR Lopez Orbe" userId="ec57996b-2ae4-4e7e-b3b5-41577a83a4a5" providerId="ADAL" clId="{A083E977-882E-462D-8122-B9E3AAD5933C}" dt="2023-10-03T14:12:38.710" v="747" actId="478"/>
          <ac:graphicFrameMkLst>
            <pc:docMk/>
            <pc:sldMk cId="1578142637" sldId="2147476974"/>
            <ac:graphicFrameMk id="10" creationId="{12EDED84-0F52-4E63-7347-BF674A127F53}"/>
          </ac:graphicFrameMkLst>
        </pc:graphicFrameChg>
        <pc:graphicFrameChg chg="add mod">
          <ac:chgData name="IGOR Lopez Orbe" userId="ec57996b-2ae4-4e7e-b3b5-41577a83a4a5" providerId="ADAL" clId="{A083E977-882E-462D-8122-B9E3AAD5933C}" dt="2023-10-03T14:12:45.772" v="748"/>
          <ac:graphicFrameMkLst>
            <pc:docMk/>
            <pc:sldMk cId="1578142637" sldId="2147476974"/>
            <ac:graphicFrameMk id="17" creationId="{FEE79ABE-EC68-7672-46EF-CA6A4BBFF070}"/>
          </ac:graphicFrameMkLst>
        </pc:graphicFrameChg>
        <pc:picChg chg="add mod">
          <ac:chgData name="IGOR Lopez Orbe" userId="ec57996b-2ae4-4e7e-b3b5-41577a83a4a5" providerId="ADAL" clId="{A083E977-882E-462D-8122-B9E3AAD5933C}" dt="2023-10-03T14:12:45.772" v="748"/>
          <ac:picMkLst>
            <pc:docMk/>
            <pc:sldMk cId="1578142637" sldId="2147476974"/>
            <ac:picMk id="2" creationId="{A53AE95E-6155-7602-D400-2A5601A63D0C}"/>
          </ac:picMkLst>
        </pc:picChg>
        <pc:picChg chg="del">
          <ac:chgData name="IGOR Lopez Orbe" userId="ec57996b-2ae4-4e7e-b3b5-41577a83a4a5" providerId="ADAL" clId="{A083E977-882E-462D-8122-B9E3AAD5933C}" dt="2023-10-03T14:12:38.710" v="747" actId="478"/>
          <ac:picMkLst>
            <pc:docMk/>
            <pc:sldMk cId="1578142637" sldId="2147476974"/>
            <ac:picMk id="6" creationId="{40137484-E80F-3640-217D-C0AB8F8D084A}"/>
          </ac:picMkLst>
        </pc:picChg>
        <pc:picChg chg="del">
          <ac:chgData name="IGOR Lopez Orbe" userId="ec57996b-2ae4-4e7e-b3b5-41577a83a4a5" providerId="ADAL" clId="{A083E977-882E-462D-8122-B9E3AAD5933C}" dt="2023-10-03T14:12:38.710" v="747" actId="478"/>
          <ac:picMkLst>
            <pc:docMk/>
            <pc:sldMk cId="1578142637" sldId="2147476974"/>
            <ac:picMk id="7" creationId="{259514D1-419C-E0E3-B65B-C654907EB63C}"/>
          </ac:picMkLst>
        </pc:picChg>
        <pc:picChg chg="del">
          <ac:chgData name="IGOR Lopez Orbe" userId="ec57996b-2ae4-4e7e-b3b5-41577a83a4a5" providerId="ADAL" clId="{A083E977-882E-462D-8122-B9E3AAD5933C}" dt="2023-10-03T14:12:38.710" v="747" actId="478"/>
          <ac:picMkLst>
            <pc:docMk/>
            <pc:sldMk cId="1578142637" sldId="2147476974"/>
            <ac:picMk id="8" creationId="{EF68802A-36D9-7FA6-0E66-AEAB2D435866}"/>
          </ac:picMkLst>
        </pc:picChg>
        <pc:picChg chg="add mod">
          <ac:chgData name="IGOR Lopez Orbe" userId="ec57996b-2ae4-4e7e-b3b5-41577a83a4a5" providerId="ADAL" clId="{A083E977-882E-462D-8122-B9E3AAD5933C}" dt="2023-10-03T14:12:45.772" v="748"/>
          <ac:picMkLst>
            <pc:docMk/>
            <pc:sldMk cId="1578142637" sldId="2147476974"/>
            <ac:picMk id="11" creationId="{5D18851B-1875-857C-D9FB-4743832D7737}"/>
          </ac:picMkLst>
        </pc:picChg>
        <pc:picChg chg="add mod">
          <ac:chgData name="IGOR Lopez Orbe" userId="ec57996b-2ae4-4e7e-b3b5-41577a83a4a5" providerId="ADAL" clId="{A083E977-882E-462D-8122-B9E3AAD5933C}" dt="2023-10-03T14:12:45.772" v="748"/>
          <ac:picMkLst>
            <pc:docMk/>
            <pc:sldMk cId="1578142637" sldId="2147476974"/>
            <ac:picMk id="12" creationId="{84D6566F-9AD0-6D49-9988-37BDAA539A08}"/>
          </ac:picMkLst>
        </pc:picChg>
        <pc:cxnChg chg="del">
          <ac:chgData name="IGOR Lopez Orbe" userId="ec57996b-2ae4-4e7e-b3b5-41577a83a4a5" providerId="ADAL" clId="{A083E977-882E-462D-8122-B9E3AAD5933C}" dt="2023-10-03T14:13:52.479" v="762" actId="478"/>
          <ac:cxnSpMkLst>
            <pc:docMk/>
            <pc:sldMk cId="1578142637" sldId="2147476974"/>
            <ac:cxnSpMk id="9" creationId="{0BADDDD6-10B4-1920-1DEB-1C2BBAFD7A00}"/>
          </ac:cxnSpMkLst>
        </pc:cxnChg>
      </pc:sldChg>
      <pc:sldChg chg="addSp delSp modSp add mod">
        <pc:chgData name="IGOR Lopez Orbe" userId="ec57996b-2ae4-4e7e-b3b5-41577a83a4a5" providerId="ADAL" clId="{A083E977-882E-462D-8122-B9E3AAD5933C}" dt="2023-10-03T14:14:02.897" v="763" actId="478"/>
        <pc:sldMkLst>
          <pc:docMk/>
          <pc:sldMk cId="231334888" sldId="2147476975"/>
        </pc:sldMkLst>
        <pc:spChg chg="add del mod">
          <ac:chgData name="IGOR Lopez Orbe" userId="ec57996b-2ae4-4e7e-b3b5-41577a83a4a5" providerId="ADAL" clId="{A083E977-882E-462D-8122-B9E3AAD5933C}" dt="2023-10-03T14:13:26.889" v="757" actId="478"/>
          <ac:spMkLst>
            <pc:docMk/>
            <pc:sldMk cId="231334888" sldId="2147476975"/>
            <ac:spMk id="3" creationId="{DAB315FE-841A-4954-79A2-25C9DFBCD4B3}"/>
          </ac:spMkLst>
        </pc:spChg>
        <pc:spChg chg="add mod">
          <ac:chgData name="IGOR Lopez Orbe" userId="ec57996b-2ae4-4e7e-b3b5-41577a83a4a5" providerId="ADAL" clId="{A083E977-882E-462D-8122-B9E3AAD5933C}" dt="2023-10-03T14:13:17.653" v="753"/>
          <ac:spMkLst>
            <pc:docMk/>
            <pc:sldMk cId="231334888" sldId="2147476975"/>
            <ac:spMk id="4" creationId="{3D84DBA6-24B5-59D8-CE06-D24C9A65B72C}"/>
          </ac:spMkLst>
        </pc:spChg>
        <pc:spChg chg="add mod">
          <ac:chgData name="IGOR Lopez Orbe" userId="ec57996b-2ae4-4e7e-b3b5-41577a83a4a5" providerId="ADAL" clId="{A083E977-882E-462D-8122-B9E3AAD5933C}" dt="2023-10-03T14:13:17.653" v="753"/>
          <ac:spMkLst>
            <pc:docMk/>
            <pc:sldMk cId="231334888" sldId="2147476975"/>
            <ac:spMk id="6" creationId="{C994E87F-43A5-F55A-7750-90088CD55D3C}"/>
          </ac:spMkLst>
        </pc:spChg>
        <pc:spChg chg="del">
          <ac:chgData name="IGOR Lopez Orbe" userId="ec57996b-2ae4-4e7e-b3b5-41577a83a4a5" providerId="ADAL" clId="{A083E977-882E-462D-8122-B9E3AAD5933C}" dt="2023-10-03T14:13:10.076" v="752" actId="478"/>
          <ac:spMkLst>
            <pc:docMk/>
            <pc:sldMk cId="231334888" sldId="2147476975"/>
            <ac:spMk id="14" creationId="{D9DFD7F7-D748-A62E-2327-DB7E6992F406}"/>
          </ac:spMkLst>
        </pc:spChg>
        <pc:spChg chg="del">
          <ac:chgData name="IGOR Lopez Orbe" userId="ec57996b-2ae4-4e7e-b3b5-41577a83a4a5" providerId="ADAL" clId="{A083E977-882E-462D-8122-B9E3AAD5933C}" dt="2023-10-03T14:13:10.076" v="752" actId="478"/>
          <ac:spMkLst>
            <pc:docMk/>
            <pc:sldMk cId="231334888" sldId="2147476975"/>
            <ac:spMk id="15" creationId="{AEA05C1B-5AED-2656-CDA2-5962F131A948}"/>
          </ac:spMkLst>
        </pc:spChg>
        <pc:spChg chg="add mod">
          <ac:chgData name="IGOR Lopez Orbe" userId="ec57996b-2ae4-4e7e-b3b5-41577a83a4a5" providerId="ADAL" clId="{A083E977-882E-462D-8122-B9E3AAD5933C}" dt="2023-10-03T14:13:17.653" v="753"/>
          <ac:spMkLst>
            <pc:docMk/>
            <pc:sldMk cId="231334888" sldId="2147476975"/>
            <ac:spMk id="18" creationId="{0CA9D5B7-34DE-43E7-A65B-F2ACFAF4831D}"/>
          </ac:spMkLst>
        </pc:spChg>
        <pc:grpChg chg="add del mod">
          <ac:chgData name="IGOR Lopez Orbe" userId="ec57996b-2ae4-4e7e-b3b5-41577a83a4a5" providerId="ADAL" clId="{A083E977-882E-462D-8122-B9E3AAD5933C}" dt="2023-10-03T14:13:26.362" v="756"/>
          <ac:grpSpMkLst>
            <pc:docMk/>
            <pc:sldMk cId="231334888" sldId="2147476975"/>
            <ac:grpSpMk id="19" creationId="{BF58AB06-8698-C6E9-17A6-6411D47FCB40}"/>
          </ac:grpSpMkLst>
        </pc:grpChg>
        <pc:grpChg chg="mod">
          <ac:chgData name="IGOR Lopez Orbe" userId="ec57996b-2ae4-4e7e-b3b5-41577a83a4a5" providerId="ADAL" clId="{A083E977-882E-462D-8122-B9E3AAD5933C}" dt="2023-10-03T14:13:23.967" v="755"/>
          <ac:grpSpMkLst>
            <pc:docMk/>
            <pc:sldMk cId="231334888" sldId="2147476975"/>
            <ac:grpSpMk id="23" creationId="{D30C53BA-B353-EF0F-90AB-8B0309898B50}"/>
          </ac:grpSpMkLst>
        </pc:grpChg>
        <pc:grpChg chg="mod">
          <ac:chgData name="IGOR Lopez Orbe" userId="ec57996b-2ae4-4e7e-b3b5-41577a83a4a5" providerId="ADAL" clId="{A083E977-882E-462D-8122-B9E3AAD5933C}" dt="2023-10-03T14:13:23.967" v="755"/>
          <ac:grpSpMkLst>
            <pc:docMk/>
            <pc:sldMk cId="231334888" sldId="2147476975"/>
            <ac:grpSpMk id="27" creationId="{2A65B90F-564D-FDBB-CD0A-28537239754E}"/>
          </ac:grpSpMkLst>
        </pc:grpChg>
        <pc:grpChg chg="add mod">
          <ac:chgData name="IGOR Lopez Orbe" userId="ec57996b-2ae4-4e7e-b3b5-41577a83a4a5" providerId="ADAL" clId="{A083E977-882E-462D-8122-B9E3AAD5933C}" dt="2023-10-03T14:13:27.699" v="758"/>
          <ac:grpSpMkLst>
            <pc:docMk/>
            <pc:sldMk cId="231334888" sldId="2147476975"/>
            <ac:grpSpMk id="57" creationId="{ADA13D61-F939-3184-7F88-53F9DE42C88F}"/>
          </ac:grpSpMkLst>
        </pc:grpChg>
        <pc:grpChg chg="mod">
          <ac:chgData name="IGOR Lopez Orbe" userId="ec57996b-2ae4-4e7e-b3b5-41577a83a4a5" providerId="ADAL" clId="{A083E977-882E-462D-8122-B9E3AAD5933C}" dt="2023-10-03T14:13:27.699" v="758"/>
          <ac:grpSpMkLst>
            <pc:docMk/>
            <pc:sldMk cId="231334888" sldId="2147476975"/>
            <ac:grpSpMk id="59" creationId="{C04871CB-2030-E93F-2B50-83C7B54130D6}"/>
          </ac:grpSpMkLst>
        </pc:grpChg>
        <pc:grpChg chg="mod">
          <ac:chgData name="IGOR Lopez Orbe" userId="ec57996b-2ae4-4e7e-b3b5-41577a83a4a5" providerId="ADAL" clId="{A083E977-882E-462D-8122-B9E3AAD5933C}" dt="2023-10-03T14:13:27.699" v="758"/>
          <ac:grpSpMkLst>
            <pc:docMk/>
            <pc:sldMk cId="231334888" sldId="2147476975"/>
            <ac:grpSpMk id="63" creationId="{0C89D463-949B-4C51-5BFE-3573463DC505}"/>
          </ac:grpSpMkLst>
        </pc:grpChg>
        <pc:graphicFrameChg chg="del">
          <ac:chgData name="IGOR Lopez Orbe" userId="ec57996b-2ae4-4e7e-b3b5-41577a83a4a5" providerId="ADAL" clId="{A083E977-882E-462D-8122-B9E3AAD5933C}" dt="2023-10-03T14:13:10.076" v="752" actId="478"/>
          <ac:graphicFrameMkLst>
            <pc:docMk/>
            <pc:sldMk cId="231334888" sldId="2147476975"/>
            <ac:graphicFrameMk id="17" creationId="{FEE79ABE-EC68-7672-46EF-CA6A4BBFF070}"/>
          </ac:graphicFrameMkLst>
        </pc:graphicFrameChg>
        <pc:picChg chg="del">
          <ac:chgData name="IGOR Lopez Orbe" userId="ec57996b-2ae4-4e7e-b3b5-41577a83a4a5" providerId="ADAL" clId="{A083E977-882E-462D-8122-B9E3AAD5933C}" dt="2023-10-03T14:13:10.076" v="752" actId="478"/>
          <ac:picMkLst>
            <pc:docMk/>
            <pc:sldMk cId="231334888" sldId="2147476975"/>
            <ac:picMk id="2" creationId="{A53AE95E-6155-7602-D400-2A5601A63D0C}"/>
          </ac:picMkLst>
        </pc:picChg>
        <pc:picChg chg="add mod">
          <ac:chgData name="IGOR Lopez Orbe" userId="ec57996b-2ae4-4e7e-b3b5-41577a83a4a5" providerId="ADAL" clId="{A083E977-882E-462D-8122-B9E3AAD5933C}" dt="2023-10-03T14:13:17.653" v="753"/>
          <ac:picMkLst>
            <pc:docMk/>
            <pc:sldMk cId="231334888" sldId="2147476975"/>
            <ac:picMk id="7" creationId="{8AA43DAC-43D4-3A06-1B99-FAFDE43036B4}"/>
          </ac:picMkLst>
        </pc:picChg>
        <pc:picChg chg="add mod">
          <ac:chgData name="IGOR Lopez Orbe" userId="ec57996b-2ae4-4e7e-b3b5-41577a83a4a5" providerId="ADAL" clId="{A083E977-882E-462D-8122-B9E3AAD5933C}" dt="2023-10-03T14:13:17.653" v="753"/>
          <ac:picMkLst>
            <pc:docMk/>
            <pc:sldMk cId="231334888" sldId="2147476975"/>
            <ac:picMk id="8" creationId="{48D66533-1CB1-D020-4BB8-F47FE58E0587}"/>
          </ac:picMkLst>
        </pc:picChg>
        <pc:picChg chg="add mod">
          <ac:chgData name="IGOR Lopez Orbe" userId="ec57996b-2ae4-4e7e-b3b5-41577a83a4a5" providerId="ADAL" clId="{A083E977-882E-462D-8122-B9E3AAD5933C}" dt="2023-10-03T14:13:17.653" v="753"/>
          <ac:picMkLst>
            <pc:docMk/>
            <pc:sldMk cId="231334888" sldId="2147476975"/>
            <ac:picMk id="10" creationId="{21B4E1B9-D5FD-8C71-E45F-21A372E0D88A}"/>
          </ac:picMkLst>
        </pc:picChg>
        <pc:picChg chg="del">
          <ac:chgData name="IGOR Lopez Orbe" userId="ec57996b-2ae4-4e7e-b3b5-41577a83a4a5" providerId="ADAL" clId="{A083E977-882E-462D-8122-B9E3AAD5933C}" dt="2023-10-03T14:13:10.076" v="752" actId="478"/>
          <ac:picMkLst>
            <pc:docMk/>
            <pc:sldMk cId="231334888" sldId="2147476975"/>
            <ac:picMk id="11" creationId="{5D18851B-1875-857C-D9FB-4743832D7737}"/>
          </ac:picMkLst>
        </pc:picChg>
        <pc:picChg chg="del">
          <ac:chgData name="IGOR Lopez Orbe" userId="ec57996b-2ae4-4e7e-b3b5-41577a83a4a5" providerId="ADAL" clId="{A083E977-882E-462D-8122-B9E3AAD5933C}" dt="2023-10-03T14:13:10.076" v="752" actId="478"/>
          <ac:picMkLst>
            <pc:docMk/>
            <pc:sldMk cId="231334888" sldId="2147476975"/>
            <ac:picMk id="12" creationId="{84D6566F-9AD0-6D49-9988-37BDAA539A08}"/>
          </ac:picMkLst>
        </pc:picChg>
        <pc:picChg chg="mod">
          <ac:chgData name="IGOR Lopez Orbe" userId="ec57996b-2ae4-4e7e-b3b5-41577a83a4a5" providerId="ADAL" clId="{A083E977-882E-462D-8122-B9E3AAD5933C}" dt="2023-10-03T14:13:23.967" v="755"/>
          <ac:picMkLst>
            <pc:docMk/>
            <pc:sldMk cId="231334888" sldId="2147476975"/>
            <ac:picMk id="20" creationId="{7F9ECD7E-565B-5676-3798-A7CA78B6C4ED}"/>
          </ac:picMkLst>
        </pc:picChg>
        <pc:picChg chg="mod">
          <ac:chgData name="IGOR Lopez Orbe" userId="ec57996b-2ae4-4e7e-b3b5-41577a83a4a5" providerId="ADAL" clId="{A083E977-882E-462D-8122-B9E3AAD5933C}" dt="2023-10-03T14:13:23.967" v="755"/>
          <ac:picMkLst>
            <pc:docMk/>
            <pc:sldMk cId="231334888" sldId="2147476975"/>
            <ac:picMk id="24" creationId="{3AD97BD7-F304-9F08-8810-1DFD72A500BD}"/>
          </ac:picMkLst>
        </pc:picChg>
        <pc:picChg chg="mod">
          <ac:chgData name="IGOR Lopez Orbe" userId="ec57996b-2ae4-4e7e-b3b5-41577a83a4a5" providerId="ADAL" clId="{A083E977-882E-462D-8122-B9E3AAD5933C}" dt="2023-10-03T14:13:23.967" v="755"/>
          <ac:picMkLst>
            <pc:docMk/>
            <pc:sldMk cId="231334888" sldId="2147476975"/>
            <ac:picMk id="25" creationId="{AA287F41-1D16-585F-F775-0D9B58EE0EB1}"/>
          </ac:picMkLst>
        </pc:picChg>
        <pc:picChg chg="mod">
          <ac:chgData name="IGOR Lopez Orbe" userId="ec57996b-2ae4-4e7e-b3b5-41577a83a4a5" providerId="ADAL" clId="{A083E977-882E-462D-8122-B9E3AAD5933C}" dt="2023-10-03T14:13:23.967" v="755"/>
          <ac:picMkLst>
            <pc:docMk/>
            <pc:sldMk cId="231334888" sldId="2147476975"/>
            <ac:picMk id="26" creationId="{118FAFD7-2F96-B038-1159-FE9A5819D2CC}"/>
          </ac:picMkLst>
        </pc:picChg>
        <pc:picChg chg="mod">
          <ac:chgData name="IGOR Lopez Orbe" userId="ec57996b-2ae4-4e7e-b3b5-41577a83a4a5" providerId="ADAL" clId="{A083E977-882E-462D-8122-B9E3AAD5933C}" dt="2023-10-03T14:13:23.967" v="755"/>
          <ac:picMkLst>
            <pc:docMk/>
            <pc:sldMk cId="231334888" sldId="2147476975"/>
            <ac:picMk id="28" creationId="{3AB1D168-060A-29C5-135C-0C453028B6E6}"/>
          </ac:picMkLst>
        </pc:picChg>
        <pc:picChg chg="mod">
          <ac:chgData name="IGOR Lopez Orbe" userId="ec57996b-2ae4-4e7e-b3b5-41577a83a4a5" providerId="ADAL" clId="{A083E977-882E-462D-8122-B9E3AAD5933C}" dt="2023-10-03T14:13:23.967" v="755"/>
          <ac:picMkLst>
            <pc:docMk/>
            <pc:sldMk cId="231334888" sldId="2147476975"/>
            <ac:picMk id="29" creationId="{290DD251-2AC7-3F91-8F74-D2C463B9FF21}"/>
          </ac:picMkLst>
        </pc:picChg>
        <pc:picChg chg="mod">
          <ac:chgData name="IGOR Lopez Orbe" userId="ec57996b-2ae4-4e7e-b3b5-41577a83a4a5" providerId="ADAL" clId="{A083E977-882E-462D-8122-B9E3AAD5933C}" dt="2023-10-03T14:13:23.967" v="755"/>
          <ac:picMkLst>
            <pc:docMk/>
            <pc:sldMk cId="231334888" sldId="2147476975"/>
            <ac:picMk id="30" creationId="{EEFD926F-9EA1-0CF4-7D24-6D9A213E4121}"/>
          </ac:picMkLst>
        </pc:picChg>
        <pc:picChg chg="mod">
          <ac:chgData name="IGOR Lopez Orbe" userId="ec57996b-2ae4-4e7e-b3b5-41577a83a4a5" providerId="ADAL" clId="{A083E977-882E-462D-8122-B9E3AAD5933C}" dt="2023-10-03T14:13:23.967" v="755"/>
          <ac:picMkLst>
            <pc:docMk/>
            <pc:sldMk cId="231334888" sldId="2147476975"/>
            <ac:picMk id="31" creationId="{807B0DE0-AA9D-7B45-6C2E-6D39DBFE2723}"/>
          </ac:picMkLst>
        </pc:picChg>
        <pc:picChg chg="mod">
          <ac:chgData name="IGOR Lopez Orbe" userId="ec57996b-2ae4-4e7e-b3b5-41577a83a4a5" providerId="ADAL" clId="{A083E977-882E-462D-8122-B9E3AAD5933C}" dt="2023-10-03T14:13:23.967" v="755"/>
          <ac:picMkLst>
            <pc:docMk/>
            <pc:sldMk cId="231334888" sldId="2147476975"/>
            <ac:picMk id="32" creationId="{A4C5A603-60C1-1680-BB03-5593076B1C2F}"/>
          </ac:picMkLst>
        </pc:picChg>
        <pc:picChg chg="mod">
          <ac:chgData name="IGOR Lopez Orbe" userId="ec57996b-2ae4-4e7e-b3b5-41577a83a4a5" providerId="ADAL" clId="{A083E977-882E-462D-8122-B9E3AAD5933C}" dt="2023-10-03T14:13:23.967" v="755"/>
          <ac:picMkLst>
            <pc:docMk/>
            <pc:sldMk cId="231334888" sldId="2147476975"/>
            <ac:picMk id="33" creationId="{5D81648E-EA9D-CF71-81C8-68785BA415CC}"/>
          </ac:picMkLst>
        </pc:picChg>
        <pc:picChg chg="mod">
          <ac:chgData name="IGOR Lopez Orbe" userId="ec57996b-2ae4-4e7e-b3b5-41577a83a4a5" providerId="ADAL" clId="{A083E977-882E-462D-8122-B9E3AAD5933C}" dt="2023-10-03T14:13:23.967" v="755"/>
          <ac:picMkLst>
            <pc:docMk/>
            <pc:sldMk cId="231334888" sldId="2147476975"/>
            <ac:picMk id="34" creationId="{8FEBB90D-11BD-E6C6-04C2-1AC1A4215D8A}"/>
          </ac:picMkLst>
        </pc:picChg>
        <pc:picChg chg="mod">
          <ac:chgData name="IGOR Lopez Orbe" userId="ec57996b-2ae4-4e7e-b3b5-41577a83a4a5" providerId="ADAL" clId="{A083E977-882E-462D-8122-B9E3AAD5933C}" dt="2023-10-03T14:13:23.967" v="755"/>
          <ac:picMkLst>
            <pc:docMk/>
            <pc:sldMk cId="231334888" sldId="2147476975"/>
            <ac:picMk id="35" creationId="{52D190A6-1475-1878-28F4-465B9E9202BE}"/>
          </ac:picMkLst>
        </pc:picChg>
        <pc:picChg chg="mod">
          <ac:chgData name="IGOR Lopez Orbe" userId="ec57996b-2ae4-4e7e-b3b5-41577a83a4a5" providerId="ADAL" clId="{A083E977-882E-462D-8122-B9E3AAD5933C}" dt="2023-10-03T14:13:23.967" v="755"/>
          <ac:picMkLst>
            <pc:docMk/>
            <pc:sldMk cId="231334888" sldId="2147476975"/>
            <ac:picMk id="36" creationId="{28233744-FA55-A27F-595E-258EA3C607A9}"/>
          </ac:picMkLst>
        </pc:picChg>
        <pc:picChg chg="mod">
          <ac:chgData name="IGOR Lopez Orbe" userId="ec57996b-2ae4-4e7e-b3b5-41577a83a4a5" providerId="ADAL" clId="{A083E977-882E-462D-8122-B9E3AAD5933C}" dt="2023-10-03T14:13:23.967" v="755"/>
          <ac:picMkLst>
            <pc:docMk/>
            <pc:sldMk cId="231334888" sldId="2147476975"/>
            <ac:picMk id="37" creationId="{A87E33BA-F896-3B24-6AF8-33C56675B538}"/>
          </ac:picMkLst>
        </pc:picChg>
        <pc:picChg chg="mod">
          <ac:chgData name="IGOR Lopez Orbe" userId="ec57996b-2ae4-4e7e-b3b5-41577a83a4a5" providerId="ADAL" clId="{A083E977-882E-462D-8122-B9E3AAD5933C}" dt="2023-10-03T14:13:23.967" v="755"/>
          <ac:picMkLst>
            <pc:docMk/>
            <pc:sldMk cId="231334888" sldId="2147476975"/>
            <ac:picMk id="38" creationId="{AA246310-4757-A149-B3C5-EC463BB3F17D}"/>
          </ac:picMkLst>
        </pc:picChg>
        <pc:picChg chg="mod">
          <ac:chgData name="IGOR Lopez Orbe" userId="ec57996b-2ae4-4e7e-b3b5-41577a83a4a5" providerId="ADAL" clId="{A083E977-882E-462D-8122-B9E3AAD5933C}" dt="2023-10-03T14:13:23.967" v="755"/>
          <ac:picMkLst>
            <pc:docMk/>
            <pc:sldMk cId="231334888" sldId="2147476975"/>
            <ac:picMk id="39" creationId="{29294D9D-2C52-243D-EC2D-DBFB8200CAE0}"/>
          </ac:picMkLst>
        </pc:picChg>
        <pc:picChg chg="mod">
          <ac:chgData name="IGOR Lopez Orbe" userId="ec57996b-2ae4-4e7e-b3b5-41577a83a4a5" providerId="ADAL" clId="{A083E977-882E-462D-8122-B9E3AAD5933C}" dt="2023-10-03T14:13:23.967" v="755"/>
          <ac:picMkLst>
            <pc:docMk/>
            <pc:sldMk cId="231334888" sldId="2147476975"/>
            <ac:picMk id="40" creationId="{3E62A693-3B20-1BAA-53D5-994F681913FD}"/>
          </ac:picMkLst>
        </pc:picChg>
        <pc:picChg chg="mod">
          <ac:chgData name="IGOR Lopez Orbe" userId="ec57996b-2ae4-4e7e-b3b5-41577a83a4a5" providerId="ADAL" clId="{A083E977-882E-462D-8122-B9E3AAD5933C}" dt="2023-10-03T14:13:23.967" v="755"/>
          <ac:picMkLst>
            <pc:docMk/>
            <pc:sldMk cId="231334888" sldId="2147476975"/>
            <ac:picMk id="41" creationId="{819D813D-5E81-D4F5-6523-1A94ACC9D08A}"/>
          </ac:picMkLst>
        </pc:picChg>
        <pc:picChg chg="mod">
          <ac:chgData name="IGOR Lopez Orbe" userId="ec57996b-2ae4-4e7e-b3b5-41577a83a4a5" providerId="ADAL" clId="{A083E977-882E-462D-8122-B9E3AAD5933C}" dt="2023-10-03T14:13:23.967" v="755"/>
          <ac:picMkLst>
            <pc:docMk/>
            <pc:sldMk cId="231334888" sldId="2147476975"/>
            <ac:picMk id="42" creationId="{F14E995B-D4C5-F798-6A67-F4DA20D78753}"/>
          </ac:picMkLst>
        </pc:picChg>
        <pc:picChg chg="mod">
          <ac:chgData name="IGOR Lopez Orbe" userId="ec57996b-2ae4-4e7e-b3b5-41577a83a4a5" providerId="ADAL" clId="{A083E977-882E-462D-8122-B9E3AAD5933C}" dt="2023-10-03T14:13:23.967" v="755"/>
          <ac:picMkLst>
            <pc:docMk/>
            <pc:sldMk cId="231334888" sldId="2147476975"/>
            <ac:picMk id="43" creationId="{F2519BDC-899D-C2F0-F30D-1BB7DBB73038}"/>
          </ac:picMkLst>
        </pc:picChg>
        <pc:picChg chg="mod">
          <ac:chgData name="IGOR Lopez Orbe" userId="ec57996b-2ae4-4e7e-b3b5-41577a83a4a5" providerId="ADAL" clId="{A083E977-882E-462D-8122-B9E3AAD5933C}" dt="2023-10-03T14:13:23.967" v="755"/>
          <ac:picMkLst>
            <pc:docMk/>
            <pc:sldMk cId="231334888" sldId="2147476975"/>
            <ac:picMk id="44" creationId="{C534F2A6-D4B2-13E4-E020-B3CEF3198FC9}"/>
          </ac:picMkLst>
        </pc:picChg>
        <pc:picChg chg="mod">
          <ac:chgData name="IGOR Lopez Orbe" userId="ec57996b-2ae4-4e7e-b3b5-41577a83a4a5" providerId="ADAL" clId="{A083E977-882E-462D-8122-B9E3AAD5933C}" dt="2023-10-03T14:13:23.967" v="755"/>
          <ac:picMkLst>
            <pc:docMk/>
            <pc:sldMk cId="231334888" sldId="2147476975"/>
            <ac:picMk id="45" creationId="{6F1809E4-6C0A-B0A4-1FA8-B80912B34E49}"/>
          </ac:picMkLst>
        </pc:picChg>
        <pc:picChg chg="mod">
          <ac:chgData name="IGOR Lopez Orbe" userId="ec57996b-2ae4-4e7e-b3b5-41577a83a4a5" providerId="ADAL" clId="{A083E977-882E-462D-8122-B9E3AAD5933C}" dt="2023-10-03T14:13:23.967" v="755"/>
          <ac:picMkLst>
            <pc:docMk/>
            <pc:sldMk cId="231334888" sldId="2147476975"/>
            <ac:picMk id="46" creationId="{5D3EFE78-6958-4E95-9EEF-75FC5D621066}"/>
          </ac:picMkLst>
        </pc:picChg>
        <pc:picChg chg="mod">
          <ac:chgData name="IGOR Lopez Orbe" userId="ec57996b-2ae4-4e7e-b3b5-41577a83a4a5" providerId="ADAL" clId="{A083E977-882E-462D-8122-B9E3AAD5933C}" dt="2023-10-03T14:13:23.967" v="755"/>
          <ac:picMkLst>
            <pc:docMk/>
            <pc:sldMk cId="231334888" sldId="2147476975"/>
            <ac:picMk id="47" creationId="{A35465DE-AB66-B3C9-D67A-A6483E1F41B5}"/>
          </ac:picMkLst>
        </pc:picChg>
        <pc:picChg chg="mod">
          <ac:chgData name="IGOR Lopez Orbe" userId="ec57996b-2ae4-4e7e-b3b5-41577a83a4a5" providerId="ADAL" clId="{A083E977-882E-462D-8122-B9E3AAD5933C}" dt="2023-10-03T14:13:23.967" v="755"/>
          <ac:picMkLst>
            <pc:docMk/>
            <pc:sldMk cId="231334888" sldId="2147476975"/>
            <ac:picMk id="48" creationId="{F9C9DC95-BFF3-484A-7A10-00DEB06E0961}"/>
          </ac:picMkLst>
        </pc:picChg>
        <pc:picChg chg="mod">
          <ac:chgData name="IGOR Lopez Orbe" userId="ec57996b-2ae4-4e7e-b3b5-41577a83a4a5" providerId="ADAL" clId="{A083E977-882E-462D-8122-B9E3AAD5933C}" dt="2023-10-03T14:13:23.967" v="755"/>
          <ac:picMkLst>
            <pc:docMk/>
            <pc:sldMk cId="231334888" sldId="2147476975"/>
            <ac:picMk id="49" creationId="{0E3DD82B-97D1-9716-D7CD-67A08ADD5116}"/>
          </ac:picMkLst>
        </pc:picChg>
        <pc:picChg chg="mod">
          <ac:chgData name="IGOR Lopez Orbe" userId="ec57996b-2ae4-4e7e-b3b5-41577a83a4a5" providerId="ADAL" clId="{A083E977-882E-462D-8122-B9E3AAD5933C}" dt="2023-10-03T14:13:23.967" v="755"/>
          <ac:picMkLst>
            <pc:docMk/>
            <pc:sldMk cId="231334888" sldId="2147476975"/>
            <ac:picMk id="50" creationId="{02B89409-F6AE-9147-08FF-9F03D6336618}"/>
          </ac:picMkLst>
        </pc:picChg>
        <pc:picChg chg="mod">
          <ac:chgData name="IGOR Lopez Orbe" userId="ec57996b-2ae4-4e7e-b3b5-41577a83a4a5" providerId="ADAL" clId="{A083E977-882E-462D-8122-B9E3AAD5933C}" dt="2023-10-03T14:13:23.967" v="755"/>
          <ac:picMkLst>
            <pc:docMk/>
            <pc:sldMk cId="231334888" sldId="2147476975"/>
            <ac:picMk id="51" creationId="{5F92706F-9776-AA95-2D4E-FFA2B16FF08D}"/>
          </ac:picMkLst>
        </pc:picChg>
        <pc:picChg chg="mod">
          <ac:chgData name="IGOR Lopez Orbe" userId="ec57996b-2ae4-4e7e-b3b5-41577a83a4a5" providerId="ADAL" clId="{A083E977-882E-462D-8122-B9E3AAD5933C}" dt="2023-10-03T14:13:23.967" v="755"/>
          <ac:picMkLst>
            <pc:docMk/>
            <pc:sldMk cId="231334888" sldId="2147476975"/>
            <ac:picMk id="52" creationId="{C08D8EFC-CB80-E2A4-D6C5-40EDF5963992}"/>
          </ac:picMkLst>
        </pc:picChg>
        <pc:picChg chg="mod">
          <ac:chgData name="IGOR Lopez Orbe" userId="ec57996b-2ae4-4e7e-b3b5-41577a83a4a5" providerId="ADAL" clId="{A083E977-882E-462D-8122-B9E3AAD5933C}" dt="2023-10-03T14:13:23.967" v="755"/>
          <ac:picMkLst>
            <pc:docMk/>
            <pc:sldMk cId="231334888" sldId="2147476975"/>
            <ac:picMk id="53" creationId="{7F48C59B-8923-1A8F-39C3-DA88CCDD6954}"/>
          </ac:picMkLst>
        </pc:picChg>
        <pc:picChg chg="mod">
          <ac:chgData name="IGOR Lopez Orbe" userId="ec57996b-2ae4-4e7e-b3b5-41577a83a4a5" providerId="ADAL" clId="{A083E977-882E-462D-8122-B9E3AAD5933C}" dt="2023-10-03T14:13:23.967" v="755"/>
          <ac:picMkLst>
            <pc:docMk/>
            <pc:sldMk cId="231334888" sldId="2147476975"/>
            <ac:picMk id="54" creationId="{73376A11-97AD-7EE1-78E4-CB8463BFC20D}"/>
          </ac:picMkLst>
        </pc:picChg>
        <pc:picChg chg="mod">
          <ac:chgData name="IGOR Lopez Orbe" userId="ec57996b-2ae4-4e7e-b3b5-41577a83a4a5" providerId="ADAL" clId="{A083E977-882E-462D-8122-B9E3AAD5933C}" dt="2023-10-03T14:13:23.967" v="755"/>
          <ac:picMkLst>
            <pc:docMk/>
            <pc:sldMk cId="231334888" sldId="2147476975"/>
            <ac:picMk id="55" creationId="{2FA57A5C-4F4C-5A3D-3B7F-6307029E0C5D}"/>
          </ac:picMkLst>
        </pc:picChg>
        <pc:picChg chg="mod">
          <ac:chgData name="IGOR Lopez Orbe" userId="ec57996b-2ae4-4e7e-b3b5-41577a83a4a5" providerId="ADAL" clId="{A083E977-882E-462D-8122-B9E3AAD5933C}" dt="2023-10-03T14:13:23.967" v="755"/>
          <ac:picMkLst>
            <pc:docMk/>
            <pc:sldMk cId="231334888" sldId="2147476975"/>
            <ac:picMk id="56" creationId="{CCBBE0C0-21F8-C6E2-FF8D-7CF72FD66616}"/>
          </ac:picMkLst>
        </pc:picChg>
        <pc:picChg chg="mod">
          <ac:chgData name="IGOR Lopez Orbe" userId="ec57996b-2ae4-4e7e-b3b5-41577a83a4a5" providerId="ADAL" clId="{A083E977-882E-462D-8122-B9E3AAD5933C}" dt="2023-10-03T14:13:27.699" v="758"/>
          <ac:picMkLst>
            <pc:docMk/>
            <pc:sldMk cId="231334888" sldId="2147476975"/>
            <ac:picMk id="58" creationId="{8D68B0F3-DABC-5DC7-3DE7-F151E5DE5DA3}"/>
          </ac:picMkLst>
        </pc:picChg>
        <pc:picChg chg="mod">
          <ac:chgData name="IGOR Lopez Orbe" userId="ec57996b-2ae4-4e7e-b3b5-41577a83a4a5" providerId="ADAL" clId="{A083E977-882E-462D-8122-B9E3AAD5933C}" dt="2023-10-03T14:13:27.699" v="758"/>
          <ac:picMkLst>
            <pc:docMk/>
            <pc:sldMk cId="231334888" sldId="2147476975"/>
            <ac:picMk id="60" creationId="{C6AE8E6E-7350-56B2-AE3A-769E625DE738}"/>
          </ac:picMkLst>
        </pc:picChg>
        <pc:picChg chg="mod">
          <ac:chgData name="IGOR Lopez Orbe" userId="ec57996b-2ae4-4e7e-b3b5-41577a83a4a5" providerId="ADAL" clId="{A083E977-882E-462D-8122-B9E3AAD5933C}" dt="2023-10-03T14:13:27.699" v="758"/>
          <ac:picMkLst>
            <pc:docMk/>
            <pc:sldMk cId="231334888" sldId="2147476975"/>
            <ac:picMk id="61" creationId="{9DAABD28-7F3F-4EAC-0BCE-3F7A9283F34A}"/>
          </ac:picMkLst>
        </pc:picChg>
        <pc:picChg chg="mod">
          <ac:chgData name="IGOR Lopez Orbe" userId="ec57996b-2ae4-4e7e-b3b5-41577a83a4a5" providerId="ADAL" clId="{A083E977-882E-462D-8122-B9E3AAD5933C}" dt="2023-10-03T14:13:27.699" v="758"/>
          <ac:picMkLst>
            <pc:docMk/>
            <pc:sldMk cId="231334888" sldId="2147476975"/>
            <ac:picMk id="62" creationId="{0D934E05-19BC-EAF2-3BC0-F59AD8DD0C56}"/>
          </ac:picMkLst>
        </pc:picChg>
        <pc:picChg chg="mod">
          <ac:chgData name="IGOR Lopez Orbe" userId="ec57996b-2ae4-4e7e-b3b5-41577a83a4a5" providerId="ADAL" clId="{A083E977-882E-462D-8122-B9E3AAD5933C}" dt="2023-10-03T14:13:27.699" v="758"/>
          <ac:picMkLst>
            <pc:docMk/>
            <pc:sldMk cId="231334888" sldId="2147476975"/>
            <ac:picMk id="64" creationId="{1F80A9E9-3CA6-43B8-D059-398BFD1F1697}"/>
          </ac:picMkLst>
        </pc:picChg>
        <pc:picChg chg="mod">
          <ac:chgData name="IGOR Lopez Orbe" userId="ec57996b-2ae4-4e7e-b3b5-41577a83a4a5" providerId="ADAL" clId="{A083E977-882E-462D-8122-B9E3AAD5933C}" dt="2023-10-03T14:13:27.699" v="758"/>
          <ac:picMkLst>
            <pc:docMk/>
            <pc:sldMk cId="231334888" sldId="2147476975"/>
            <ac:picMk id="65" creationId="{A56322F2-3DD9-C3DE-F0C2-FB9A318001CD}"/>
          </ac:picMkLst>
        </pc:picChg>
        <pc:picChg chg="mod">
          <ac:chgData name="IGOR Lopez Orbe" userId="ec57996b-2ae4-4e7e-b3b5-41577a83a4a5" providerId="ADAL" clId="{A083E977-882E-462D-8122-B9E3AAD5933C}" dt="2023-10-03T14:13:27.699" v="758"/>
          <ac:picMkLst>
            <pc:docMk/>
            <pc:sldMk cId="231334888" sldId="2147476975"/>
            <ac:picMk id="66" creationId="{7187F1A0-09A1-14E6-8B06-3D139287B571}"/>
          </ac:picMkLst>
        </pc:picChg>
        <pc:picChg chg="mod">
          <ac:chgData name="IGOR Lopez Orbe" userId="ec57996b-2ae4-4e7e-b3b5-41577a83a4a5" providerId="ADAL" clId="{A083E977-882E-462D-8122-B9E3AAD5933C}" dt="2023-10-03T14:13:27.699" v="758"/>
          <ac:picMkLst>
            <pc:docMk/>
            <pc:sldMk cId="231334888" sldId="2147476975"/>
            <ac:picMk id="67" creationId="{50912CAA-E062-F7F6-1FF5-749637464E23}"/>
          </ac:picMkLst>
        </pc:picChg>
        <pc:picChg chg="mod">
          <ac:chgData name="IGOR Lopez Orbe" userId="ec57996b-2ae4-4e7e-b3b5-41577a83a4a5" providerId="ADAL" clId="{A083E977-882E-462D-8122-B9E3AAD5933C}" dt="2023-10-03T14:13:27.699" v="758"/>
          <ac:picMkLst>
            <pc:docMk/>
            <pc:sldMk cId="231334888" sldId="2147476975"/>
            <ac:picMk id="68" creationId="{70875690-D650-0ACF-E829-50268B5FF974}"/>
          </ac:picMkLst>
        </pc:picChg>
        <pc:picChg chg="mod">
          <ac:chgData name="IGOR Lopez Orbe" userId="ec57996b-2ae4-4e7e-b3b5-41577a83a4a5" providerId="ADAL" clId="{A083E977-882E-462D-8122-B9E3AAD5933C}" dt="2023-10-03T14:13:27.699" v="758"/>
          <ac:picMkLst>
            <pc:docMk/>
            <pc:sldMk cId="231334888" sldId="2147476975"/>
            <ac:picMk id="69" creationId="{D5FD5F53-ACB5-0574-2091-6AF51E509D00}"/>
          </ac:picMkLst>
        </pc:picChg>
        <pc:picChg chg="mod">
          <ac:chgData name="IGOR Lopez Orbe" userId="ec57996b-2ae4-4e7e-b3b5-41577a83a4a5" providerId="ADAL" clId="{A083E977-882E-462D-8122-B9E3AAD5933C}" dt="2023-10-03T14:13:27.699" v="758"/>
          <ac:picMkLst>
            <pc:docMk/>
            <pc:sldMk cId="231334888" sldId="2147476975"/>
            <ac:picMk id="70" creationId="{0562CF38-2FBD-E0DB-633D-0CDD95F3F3E5}"/>
          </ac:picMkLst>
        </pc:picChg>
        <pc:picChg chg="mod">
          <ac:chgData name="IGOR Lopez Orbe" userId="ec57996b-2ae4-4e7e-b3b5-41577a83a4a5" providerId="ADAL" clId="{A083E977-882E-462D-8122-B9E3AAD5933C}" dt="2023-10-03T14:13:27.699" v="758"/>
          <ac:picMkLst>
            <pc:docMk/>
            <pc:sldMk cId="231334888" sldId="2147476975"/>
            <ac:picMk id="71" creationId="{D8244B62-5E55-8D8B-A9BA-529A4EC9D466}"/>
          </ac:picMkLst>
        </pc:picChg>
        <pc:picChg chg="mod">
          <ac:chgData name="IGOR Lopez Orbe" userId="ec57996b-2ae4-4e7e-b3b5-41577a83a4a5" providerId="ADAL" clId="{A083E977-882E-462D-8122-B9E3AAD5933C}" dt="2023-10-03T14:13:27.699" v="758"/>
          <ac:picMkLst>
            <pc:docMk/>
            <pc:sldMk cId="231334888" sldId="2147476975"/>
            <ac:picMk id="72" creationId="{2A83F44A-8FF1-8C0D-6112-674258D431DA}"/>
          </ac:picMkLst>
        </pc:picChg>
        <pc:picChg chg="mod">
          <ac:chgData name="IGOR Lopez Orbe" userId="ec57996b-2ae4-4e7e-b3b5-41577a83a4a5" providerId="ADAL" clId="{A083E977-882E-462D-8122-B9E3AAD5933C}" dt="2023-10-03T14:13:27.699" v="758"/>
          <ac:picMkLst>
            <pc:docMk/>
            <pc:sldMk cId="231334888" sldId="2147476975"/>
            <ac:picMk id="73" creationId="{4FF3E49B-6C84-8890-EFBF-11BCCA367707}"/>
          </ac:picMkLst>
        </pc:picChg>
        <pc:picChg chg="mod">
          <ac:chgData name="IGOR Lopez Orbe" userId="ec57996b-2ae4-4e7e-b3b5-41577a83a4a5" providerId="ADAL" clId="{A083E977-882E-462D-8122-B9E3AAD5933C}" dt="2023-10-03T14:13:27.699" v="758"/>
          <ac:picMkLst>
            <pc:docMk/>
            <pc:sldMk cId="231334888" sldId="2147476975"/>
            <ac:picMk id="74" creationId="{AE70B09B-D827-CC3F-2084-98E3DCDF70A1}"/>
          </ac:picMkLst>
        </pc:picChg>
        <pc:picChg chg="mod">
          <ac:chgData name="IGOR Lopez Orbe" userId="ec57996b-2ae4-4e7e-b3b5-41577a83a4a5" providerId="ADAL" clId="{A083E977-882E-462D-8122-B9E3AAD5933C}" dt="2023-10-03T14:13:27.699" v="758"/>
          <ac:picMkLst>
            <pc:docMk/>
            <pc:sldMk cId="231334888" sldId="2147476975"/>
            <ac:picMk id="75" creationId="{A05DFFA9-18BD-E9D2-038E-D2B1A163227A}"/>
          </ac:picMkLst>
        </pc:picChg>
        <pc:picChg chg="mod">
          <ac:chgData name="IGOR Lopez Orbe" userId="ec57996b-2ae4-4e7e-b3b5-41577a83a4a5" providerId="ADAL" clId="{A083E977-882E-462D-8122-B9E3AAD5933C}" dt="2023-10-03T14:13:27.699" v="758"/>
          <ac:picMkLst>
            <pc:docMk/>
            <pc:sldMk cId="231334888" sldId="2147476975"/>
            <ac:picMk id="76" creationId="{90874514-FD9A-C484-9199-3B5A6AB3A83B}"/>
          </ac:picMkLst>
        </pc:picChg>
        <pc:picChg chg="mod">
          <ac:chgData name="IGOR Lopez Orbe" userId="ec57996b-2ae4-4e7e-b3b5-41577a83a4a5" providerId="ADAL" clId="{A083E977-882E-462D-8122-B9E3AAD5933C}" dt="2023-10-03T14:13:27.699" v="758"/>
          <ac:picMkLst>
            <pc:docMk/>
            <pc:sldMk cId="231334888" sldId="2147476975"/>
            <ac:picMk id="77" creationId="{C73856CF-EE2E-7ED6-4DE9-DC84490C0935}"/>
          </ac:picMkLst>
        </pc:picChg>
        <pc:picChg chg="mod">
          <ac:chgData name="IGOR Lopez Orbe" userId="ec57996b-2ae4-4e7e-b3b5-41577a83a4a5" providerId="ADAL" clId="{A083E977-882E-462D-8122-B9E3AAD5933C}" dt="2023-10-03T14:13:27.699" v="758"/>
          <ac:picMkLst>
            <pc:docMk/>
            <pc:sldMk cId="231334888" sldId="2147476975"/>
            <ac:picMk id="78" creationId="{E66CCE19-DE6D-7536-4EFF-9FE0DB396BF5}"/>
          </ac:picMkLst>
        </pc:picChg>
        <pc:picChg chg="mod">
          <ac:chgData name="IGOR Lopez Orbe" userId="ec57996b-2ae4-4e7e-b3b5-41577a83a4a5" providerId="ADAL" clId="{A083E977-882E-462D-8122-B9E3AAD5933C}" dt="2023-10-03T14:13:27.699" v="758"/>
          <ac:picMkLst>
            <pc:docMk/>
            <pc:sldMk cId="231334888" sldId="2147476975"/>
            <ac:picMk id="79" creationId="{BCFB2C6B-CF9C-8930-0187-B8FBCB7EB63A}"/>
          </ac:picMkLst>
        </pc:picChg>
        <pc:picChg chg="mod">
          <ac:chgData name="IGOR Lopez Orbe" userId="ec57996b-2ae4-4e7e-b3b5-41577a83a4a5" providerId="ADAL" clId="{A083E977-882E-462D-8122-B9E3AAD5933C}" dt="2023-10-03T14:13:27.699" v="758"/>
          <ac:picMkLst>
            <pc:docMk/>
            <pc:sldMk cId="231334888" sldId="2147476975"/>
            <ac:picMk id="80" creationId="{F8FBD657-91D3-DB1F-ADB5-FC6B915E1129}"/>
          </ac:picMkLst>
        </pc:picChg>
        <pc:picChg chg="mod">
          <ac:chgData name="IGOR Lopez Orbe" userId="ec57996b-2ae4-4e7e-b3b5-41577a83a4a5" providerId="ADAL" clId="{A083E977-882E-462D-8122-B9E3AAD5933C}" dt="2023-10-03T14:13:27.699" v="758"/>
          <ac:picMkLst>
            <pc:docMk/>
            <pc:sldMk cId="231334888" sldId="2147476975"/>
            <ac:picMk id="81" creationId="{08F375DE-B498-2F7B-F323-1D9390F4EDC4}"/>
          </ac:picMkLst>
        </pc:picChg>
        <pc:picChg chg="mod">
          <ac:chgData name="IGOR Lopez Orbe" userId="ec57996b-2ae4-4e7e-b3b5-41577a83a4a5" providerId="ADAL" clId="{A083E977-882E-462D-8122-B9E3AAD5933C}" dt="2023-10-03T14:13:27.699" v="758"/>
          <ac:picMkLst>
            <pc:docMk/>
            <pc:sldMk cId="231334888" sldId="2147476975"/>
            <ac:picMk id="82" creationId="{7C4D6926-FF74-9338-C8A6-0CE4F534C898}"/>
          </ac:picMkLst>
        </pc:picChg>
        <pc:picChg chg="mod">
          <ac:chgData name="IGOR Lopez Orbe" userId="ec57996b-2ae4-4e7e-b3b5-41577a83a4a5" providerId="ADAL" clId="{A083E977-882E-462D-8122-B9E3AAD5933C}" dt="2023-10-03T14:13:27.699" v="758"/>
          <ac:picMkLst>
            <pc:docMk/>
            <pc:sldMk cId="231334888" sldId="2147476975"/>
            <ac:picMk id="83" creationId="{C4F5890F-00EB-AAF7-1801-0DD643A8524B}"/>
          </ac:picMkLst>
        </pc:picChg>
        <pc:picChg chg="mod">
          <ac:chgData name="IGOR Lopez Orbe" userId="ec57996b-2ae4-4e7e-b3b5-41577a83a4a5" providerId="ADAL" clId="{A083E977-882E-462D-8122-B9E3AAD5933C}" dt="2023-10-03T14:13:27.699" v="758"/>
          <ac:picMkLst>
            <pc:docMk/>
            <pc:sldMk cId="231334888" sldId="2147476975"/>
            <ac:picMk id="84" creationId="{96B01F5A-487B-DC58-F29B-63551B5D7C26}"/>
          </ac:picMkLst>
        </pc:picChg>
        <pc:picChg chg="mod">
          <ac:chgData name="IGOR Lopez Orbe" userId="ec57996b-2ae4-4e7e-b3b5-41577a83a4a5" providerId="ADAL" clId="{A083E977-882E-462D-8122-B9E3AAD5933C}" dt="2023-10-03T14:13:27.699" v="758"/>
          <ac:picMkLst>
            <pc:docMk/>
            <pc:sldMk cId="231334888" sldId="2147476975"/>
            <ac:picMk id="85" creationId="{BE8025A7-07EC-31EC-EF6A-6CAC96D83DDA}"/>
          </ac:picMkLst>
        </pc:picChg>
        <pc:picChg chg="mod">
          <ac:chgData name="IGOR Lopez Orbe" userId="ec57996b-2ae4-4e7e-b3b5-41577a83a4a5" providerId="ADAL" clId="{A083E977-882E-462D-8122-B9E3AAD5933C}" dt="2023-10-03T14:13:27.699" v="758"/>
          <ac:picMkLst>
            <pc:docMk/>
            <pc:sldMk cId="231334888" sldId="2147476975"/>
            <ac:picMk id="86" creationId="{105B99DA-41DC-7D61-64AA-68A9438AE04B}"/>
          </ac:picMkLst>
        </pc:picChg>
        <pc:picChg chg="mod">
          <ac:chgData name="IGOR Lopez Orbe" userId="ec57996b-2ae4-4e7e-b3b5-41577a83a4a5" providerId="ADAL" clId="{A083E977-882E-462D-8122-B9E3AAD5933C}" dt="2023-10-03T14:13:27.699" v="758"/>
          <ac:picMkLst>
            <pc:docMk/>
            <pc:sldMk cId="231334888" sldId="2147476975"/>
            <ac:picMk id="87" creationId="{8154403E-37CD-94C0-D154-AB3D6D64C6C6}"/>
          </ac:picMkLst>
        </pc:picChg>
        <pc:picChg chg="mod">
          <ac:chgData name="IGOR Lopez Orbe" userId="ec57996b-2ae4-4e7e-b3b5-41577a83a4a5" providerId="ADAL" clId="{A083E977-882E-462D-8122-B9E3AAD5933C}" dt="2023-10-03T14:13:27.699" v="758"/>
          <ac:picMkLst>
            <pc:docMk/>
            <pc:sldMk cId="231334888" sldId="2147476975"/>
            <ac:picMk id="88" creationId="{C2B5B66D-3381-D655-E6CE-C2800EE1F86F}"/>
          </ac:picMkLst>
        </pc:picChg>
        <pc:picChg chg="mod">
          <ac:chgData name="IGOR Lopez Orbe" userId="ec57996b-2ae4-4e7e-b3b5-41577a83a4a5" providerId="ADAL" clId="{A083E977-882E-462D-8122-B9E3AAD5933C}" dt="2023-10-03T14:13:27.699" v="758"/>
          <ac:picMkLst>
            <pc:docMk/>
            <pc:sldMk cId="231334888" sldId="2147476975"/>
            <ac:picMk id="89" creationId="{15D84F91-5A01-DD7D-05B5-A7EC92B7A455}"/>
          </ac:picMkLst>
        </pc:picChg>
        <pc:picChg chg="mod">
          <ac:chgData name="IGOR Lopez Orbe" userId="ec57996b-2ae4-4e7e-b3b5-41577a83a4a5" providerId="ADAL" clId="{A083E977-882E-462D-8122-B9E3AAD5933C}" dt="2023-10-03T14:13:27.699" v="758"/>
          <ac:picMkLst>
            <pc:docMk/>
            <pc:sldMk cId="231334888" sldId="2147476975"/>
            <ac:picMk id="90" creationId="{7678A6D5-3DBD-3FCC-3A18-D32FEFCDDCE9}"/>
          </ac:picMkLst>
        </pc:picChg>
        <pc:picChg chg="mod">
          <ac:chgData name="IGOR Lopez Orbe" userId="ec57996b-2ae4-4e7e-b3b5-41577a83a4a5" providerId="ADAL" clId="{A083E977-882E-462D-8122-B9E3AAD5933C}" dt="2023-10-03T14:13:27.699" v="758"/>
          <ac:picMkLst>
            <pc:docMk/>
            <pc:sldMk cId="231334888" sldId="2147476975"/>
            <ac:picMk id="91" creationId="{E9081FC1-CD02-5987-8661-DA4D26FC369B}"/>
          </ac:picMkLst>
        </pc:picChg>
        <pc:picChg chg="mod">
          <ac:chgData name="IGOR Lopez Orbe" userId="ec57996b-2ae4-4e7e-b3b5-41577a83a4a5" providerId="ADAL" clId="{A083E977-882E-462D-8122-B9E3AAD5933C}" dt="2023-10-03T14:13:27.699" v="758"/>
          <ac:picMkLst>
            <pc:docMk/>
            <pc:sldMk cId="231334888" sldId="2147476975"/>
            <ac:picMk id="92" creationId="{E0D76283-A752-D979-3421-2759EFF5CF8F}"/>
          </ac:picMkLst>
        </pc:picChg>
        <pc:cxnChg chg="del">
          <ac:chgData name="IGOR Lopez Orbe" userId="ec57996b-2ae4-4e7e-b3b5-41577a83a4a5" providerId="ADAL" clId="{A083E977-882E-462D-8122-B9E3AAD5933C}" dt="2023-10-03T14:14:02.897" v="763" actId="478"/>
          <ac:cxnSpMkLst>
            <pc:docMk/>
            <pc:sldMk cId="231334888" sldId="2147476975"/>
            <ac:cxnSpMk id="9" creationId="{0BADDDD6-10B4-1920-1DEB-1C2BBAFD7A00}"/>
          </ac:cxnSpMkLst>
        </pc:cxnChg>
      </pc:sldChg>
      <pc:sldChg chg="addSp delSp modSp add mod">
        <pc:chgData name="IGOR Lopez Orbe" userId="ec57996b-2ae4-4e7e-b3b5-41577a83a4a5" providerId="ADAL" clId="{A083E977-882E-462D-8122-B9E3AAD5933C}" dt="2023-10-03T14:14:38.887" v="774"/>
        <pc:sldMkLst>
          <pc:docMk/>
          <pc:sldMk cId="2119798917" sldId="2147476976"/>
        </pc:sldMkLst>
        <pc:spChg chg="del">
          <ac:chgData name="IGOR Lopez Orbe" userId="ec57996b-2ae4-4e7e-b3b5-41577a83a4a5" providerId="ADAL" clId="{A083E977-882E-462D-8122-B9E3AAD5933C}" dt="2023-10-03T14:14:23.398" v="769" actId="478"/>
          <ac:spMkLst>
            <pc:docMk/>
            <pc:sldMk cId="2119798917" sldId="2147476976"/>
            <ac:spMk id="3" creationId="{DAB315FE-841A-4954-79A2-25C9DFBCD4B3}"/>
          </ac:spMkLst>
        </pc:spChg>
        <pc:spChg chg="del">
          <ac:chgData name="IGOR Lopez Orbe" userId="ec57996b-2ae4-4e7e-b3b5-41577a83a4a5" providerId="ADAL" clId="{A083E977-882E-462D-8122-B9E3AAD5933C}" dt="2023-10-03T14:14:23.398" v="769" actId="478"/>
          <ac:spMkLst>
            <pc:docMk/>
            <pc:sldMk cId="2119798917" sldId="2147476976"/>
            <ac:spMk id="4" creationId="{3D84DBA6-24B5-59D8-CE06-D24C9A65B72C}"/>
          </ac:spMkLst>
        </pc:spChg>
        <pc:spChg chg="del">
          <ac:chgData name="IGOR Lopez Orbe" userId="ec57996b-2ae4-4e7e-b3b5-41577a83a4a5" providerId="ADAL" clId="{A083E977-882E-462D-8122-B9E3AAD5933C}" dt="2023-10-03T14:14:23.398" v="769" actId="478"/>
          <ac:spMkLst>
            <pc:docMk/>
            <pc:sldMk cId="2119798917" sldId="2147476976"/>
            <ac:spMk id="6" creationId="{C994E87F-43A5-F55A-7750-90088CD55D3C}"/>
          </ac:spMkLst>
        </pc:spChg>
        <pc:spChg chg="add mod">
          <ac:chgData name="IGOR Lopez Orbe" userId="ec57996b-2ae4-4e7e-b3b5-41577a83a4a5" providerId="ADAL" clId="{A083E977-882E-462D-8122-B9E3AAD5933C}" dt="2023-10-03T14:14:38.887" v="774"/>
          <ac:spMkLst>
            <pc:docMk/>
            <pc:sldMk cId="2119798917" sldId="2147476976"/>
            <ac:spMk id="9" creationId="{0BEA4D37-5695-BFEA-2ED8-990494177002}"/>
          </ac:spMkLst>
        </pc:spChg>
        <pc:spChg chg="del">
          <ac:chgData name="IGOR Lopez Orbe" userId="ec57996b-2ae4-4e7e-b3b5-41577a83a4a5" providerId="ADAL" clId="{A083E977-882E-462D-8122-B9E3AAD5933C}" dt="2023-10-03T14:14:23.398" v="769" actId="478"/>
          <ac:spMkLst>
            <pc:docMk/>
            <pc:sldMk cId="2119798917" sldId="2147476976"/>
            <ac:spMk id="18" creationId="{0CA9D5B7-34DE-43E7-A65B-F2ACFAF4831D}"/>
          </ac:spMkLst>
        </pc:spChg>
        <pc:grpChg chg="del">
          <ac:chgData name="IGOR Lopez Orbe" userId="ec57996b-2ae4-4e7e-b3b5-41577a83a4a5" providerId="ADAL" clId="{A083E977-882E-462D-8122-B9E3AAD5933C}" dt="2023-10-03T14:14:26.025" v="770" actId="478"/>
          <ac:grpSpMkLst>
            <pc:docMk/>
            <pc:sldMk cId="2119798917" sldId="2147476976"/>
            <ac:grpSpMk id="57" creationId="{ADA13D61-F939-3184-7F88-53F9DE42C88F}"/>
          </ac:grpSpMkLst>
        </pc:grpChg>
        <pc:picChg chg="add mod">
          <ac:chgData name="IGOR Lopez Orbe" userId="ec57996b-2ae4-4e7e-b3b5-41577a83a4a5" providerId="ADAL" clId="{A083E977-882E-462D-8122-B9E3AAD5933C}" dt="2023-10-03T14:14:30.409" v="773" actId="1076"/>
          <ac:picMkLst>
            <pc:docMk/>
            <pc:sldMk cId="2119798917" sldId="2147476976"/>
            <ac:picMk id="2" creationId="{6D1DF2E4-041B-CB77-45B6-F0768A6822AA}"/>
          </ac:picMkLst>
        </pc:picChg>
        <pc:picChg chg="del">
          <ac:chgData name="IGOR Lopez Orbe" userId="ec57996b-2ae4-4e7e-b3b5-41577a83a4a5" providerId="ADAL" clId="{A083E977-882E-462D-8122-B9E3AAD5933C}" dt="2023-10-03T14:14:23.398" v="769" actId="478"/>
          <ac:picMkLst>
            <pc:docMk/>
            <pc:sldMk cId="2119798917" sldId="2147476976"/>
            <ac:picMk id="7" creationId="{8AA43DAC-43D4-3A06-1B99-FAFDE43036B4}"/>
          </ac:picMkLst>
        </pc:picChg>
        <pc:picChg chg="del">
          <ac:chgData name="IGOR Lopez Orbe" userId="ec57996b-2ae4-4e7e-b3b5-41577a83a4a5" providerId="ADAL" clId="{A083E977-882E-462D-8122-B9E3AAD5933C}" dt="2023-10-03T14:14:23.398" v="769" actId="478"/>
          <ac:picMkLst>
            <pc:docMk/>
            <pc:sldMk cId="2119798917" sldId="2147476976"/>
            <ac:picMk id="8" creationId="{48D66533-1CB1-D020-4BB8-F47FE58E0587}"/>
          </ac:picMkLst>
        </pc:picChg>
        <pc:picChg chg="del">
          <ac:chgData name="IGOR Lopez Orbe" userId="ec57996b-2ae4-4e7e-b3b5-41577a83a4a5" providerId="ADAL" clId="{A083E977-882E-462D-8122-B9E3AAD5933C}" dt="2023-10-03T14:14:23.398" v="769" actId="478"/>
          <ac:picMkLst>
            <pc:docMk/>
            <pc:sldMk cId="2119798917" sldId="2147476976"/>
            <ac:picMk id="10" creationId="{21B4E1B9-D5FD-8C71-E45F-21A372E0D88A}"/>
          </ac:picMkLst>
        </pc:picChg>
      </pc:sldChg>
      <pc:sldChg chg="addSp delSp modSp add mod">
        <pc:chgData name="IGOR Lopez Orbe" userId="ec57996b-2ae4-4e7e-b3b5-41577a83a4a5" providerId="ADAL" clId="{A083E977-882E-462D-8122-B9E3AAD5933C}" dt="2023-10-03T14:14:58.562" v="779"/>
        <pc:sldMkLst>
          <pc:docMk/>
          <pc:sldMk cId="3896747607" sldId="2147476977"/>
        </pc:sldMkLst>
        <pc:spChg chg="add mod">
          <ac:chgData name="IGOR Lopez Orbe" userId="ec57996b-2ae4-4e7e-b3b5-41577a83a4a5" providerId="ADAL" clId="{A083E977-882E-462D-8122-B9E3AAD5933C}" dt="2023-10-03T14:14:58.562" v="779"/>
          <ac:spMkLst>
            <pc:docMk/>
            <pc:sldMk cId="3896747607" sldId="2147476977"/>
            <ac:spMk id="3" creationId="{0440737B-DCBD-D45E-7CD0-A80840684F6F}"/>
          </ac:spMkLst>
        </pc:spChg>
        <pc:spChg chg="add mod">
          <ac:chgData name="IGOR Lopez Orbe" userId="ec57996b-2ae4-4e7e-b3b5-41577a83a4a5" providerId="ADAL" clId="{A083E977-882E-462D-8122-B9E3AAD5933C}" dt="2023-10-03T14:14:58.562" v="779"/>
          <ac:spMkLst>
            <pc:docMk/>
            <pc:sldMk cId="3896747607" sldId="2147476977"/>
            <ac:spMk id="4" creationId="{79E0FDFA-0B36-1426-8EAD-150B5A8ADA9A}"/>
          </ac:spMkLst>
        </pc:spChg>
        <pc:spChg chg="add mod">
          <ac:chgData name="IGOR Lopez Orbe" userId="ec57996b-2ae4-4e7e-b3b5-41577a83a4a5" providerId="ADAL" clId="{A083E977-882E-462D-8122-B9E3AAD5933C}" dt="2023-10-03T14:14:58.562" v="779"/>
          <ac:spMkLst>
            <pc:docMk/>
            <pc:sldMk cId="3896747607" sldId="2147476977"/>
            <ac:spMk id="7" creationId="{412EE567-4672-2616-6645-C0B3453D767A}"/>
          </ac:spMkLst>
        </pc:spChg>
        <pc:spChg chg="add mod">
          <ac:chgData name="IGOR Lopez Orbe" userId="ec57996b-2ae4-4e7e-b3b5-41577a83a4a5" providerId="ADAL" clId="{A083E977-882E-462D-8122-B9E3AAD5933C}" dt="2023-10-03T14:14:58.562" v="779"/>
          <ac:spMkLst>
            <pc:docMk/>
            <pc:sldMk cId="3896747607" sldId="2147476977"/>
            <ac:spMk id="8" creationId="{9477833D-8B12-FF0D-640D-E9C3544F036D}"/>
          </ac:spMkLst>
        </pc:spChg>
        <pc:spChg chg="del">
          <ac:chgData name="IGOR Lopez Orbe" userId="ec57996b-2ae4-4e7e-b3b5-41577a83a4a5" providerId="ADAL" clId="{A083E977-882E-462D-8122-B9E3AAD5933C}" dt="2023-10-03T14:14:50.880" v="778" actId="478"/>
          <ac:spMkLst>
            <pc:docMk/>
            <pc:sldMk cId="3896747607" sldId="2147476977"/>
            <ac:spMk id="9" creationId="{0BEA4D37-5695-BFEA-2ED8-990494177002}"/>
          </ac:spMkLst>
        </pc:spChg>
        <pc:spChg chg="mod">
          <ac:chgData name="IGOR Lopez Orbe" userId="ec57996b-2ae4-4e7e-b3b5-41577a83a4a5" providerId="ADAL" clId="{A083E977-882E-462D-8122-B9E3AAD5933C}" dt="2023-10-03T14:14:58.562" v="779"/>
          <ac:spMkLst>
            <pc:docMk/>
            <pc:sldMk cId="3896747607" sldId="2147476977"/>
            <ac:spMk id="11" creationId="{DD0FACA2-5623-BB8D-F930-4668CB5CE78F}"/>
          </ac:spMkLst>
        </pc:spChg>
        <pc:spChg chg="mod">
          <ac:chgData name="IGOR Lopez Orbe" userId="ec57996b-2ae4-4e7e-b3b5-41577a83a4a5" providerId="ADAL" clId="{A083E977-882E-462D-8122-B9E3AAD5933C}" dt="2023-10-03T14:14:58.562" v="779"/>
          <ac:spMkLst>
            <pc:docMk/>
            <pc:sldMk cId="3896747607" sldId="2147476977"/>
            <ac:spMk id="12" creationId="{320F0580-ECE4-2BD8-1D01-ED41222F5E44}"/>
          </ac:spMkLst>
        </pc:spChg>
        <pc:spChg chg="add mod">
          <ac:chgData name="IGOR Lopez Orbe" userId="ec57996b-2ae4-4e7e-b3b5-41577a83a4a5" providerId="ADAL" clId="{A083E977-882E-462D-8122-B9E3AAD5933C}" dt="2023-10-03T14:14:58.562" v="779"/>
          <ac:spMkLst>
            <pc:docMk/>
            <pc:sldMk cId="3896747607" sldId="2147476977"/>
            <ac:spMk id="14" creationId="{3E3AB092-ED20-7893-8014-19E69913B0FA}"/>
          </ac:spMkLst>
        </pc:spChg>
        <pc:grpChg chg="add mod">
          <ac:chgData name="IGOR Lopez Orbe" userId="ec57996b-2ae4-4e7e-b3b5-41577a83a4a5" providerId="ADAL" clId="{A083E977-882E-462D-8122-B9E3AAD5933C}" dt="2023-10-03T14:14:58.562" v="779"/>
          <ac:grpSpMkLst>
            <pc:docMk/>
            <pc:sldMk cId="3896747607" sldId="2147476977"/>
            <ac:grpSpMk id="10" creationId="{D7FB2971-5E31-10B3-1998-E25E029C709A}"/>
          </ac:grpSpMkLst>
        </pc:grpChg>
        <pc:grpChg chg="add mod">
          <ac:chgData name="IGOR Lopez Orbe" userId="ec57996b-2ae4-4e7e-b3b5-41577a83a4a5" providerId="ADAL" clId="{A083E977-882E-462D-8122-B9E3AAD5933C}" dt="2023-10-03T14:14:58.562" v="779"/>
          <ac:grpSpMkLst>
            <pc:docMk/>
            <pc:sldMk cId="3896747607" sldId="2147476977"/>
            <ac:grpSpMk id="18" creationId="{8E2EAA6B-658F-EAA4-2B27-B3E19B438F5A}"/>
          </ac:grpSpMkLst>
        </pc:grpChg>
        <pc:graphicFrameChg chg="add mod">
          <ac:chgData name="IGOR Lopez Orbe" userId="ec57996b-2ae4-4e7e-b3b5-41577a83a4a5" providerId="ADAL" clId="{A083E977-882E-462D-8122-B9E3AAD5933C}" dt="2023-10-03T14:14:58.562" v="779"/>
          <ac:graphicFrameMkLst>
            <pc:docMk/>
            <pc:sldMk cId="3896747607" sldId="2147476977"/>
            <ac:graphicFrameMk id="6" creationId="{BE7B739E-758A-186C-F2E3-560525CE044E}"/>
          </ac:graphicFrameMkLst>
        </pc:graphicFrameChg>
        <pc:picChg chg="del">
          <ac:chgData name="IGOR Lopez Orbe" userId="ec57996b-2ae4-4e7e-b3b5-41577a83a4a5" providerId="ADAL" clId="{A083E977-882E-462D-8122-B9E3AAD5933C}" dt="2023-10-03T14:14:49.336" v="777" actId="478"/>
          <ac:picMkLst>
            <pc:docMk/>
            <pc:sldMk cId="3896747607" sldId="2147476977"/>
            <ac:picMk id="2" creationId="{6D1DF2E4-041B-CB77-45B6-F0768A6822AA}"/>
          </ac:picMkLst>
        </pc:picChg>
        <pc:picChg chg="add mod">
          <ac:chgData name="IGOR Lopez Orbe" userId="ec57996b-2ae4-4e7e-b3b5-41577a83a4a5" providerId="ADAL" clId="{A083E977-882E-462D-8122-B9E3AAD5933C}" dt="2023-10-03T14:14:58.562" v="779"/>
          <ac:picMkLst>
            <pc:docMk/>
            <pc:sldMk cId="3896747607" sldId="2147476977"/>
            <ac:picMk id="15" creationId="{2BD6D928-2CE7-7818-E5C6-ABBC7FD60A7D}"/>
          </ac:picMkLst>
        </pc:picChg>
        <pc:picChg chg="add mod">
          <ac:chgData name="IGOR Lopez Orbe" userId="ec57996b-2ae4-4e7e-b3b5-41577a83a4a5" providerId="ADAL" clId="{A083E977-882E-462D-8122-B9E3AAD5933C}" dt="2023-10-03T14:14:58.562" v="779"/>
          <ac:picMkLst>
            <pc:docMk/>
            <pc:sldMk cId="3896747607" sldId="2147476977"/>
            <ac:picMk id="17" creationId="{601F5FAE-9495-7D05-CEEC-74D614A97CC9}"/>
          </ac:picMkLst>
        </pc:picChg>
        <pc:cxnChg chg="mod">
          <ac:chgData name="IGOR Lopez Orbe" userId="ec57996b-2ae4-4e7e-b3b5-41577a83a4a5" providerId="ADAL" clId="{A083E977-882E-462D-8122-B9E3AAD5933C}" dt="2023-10-03T14:14:58.562" v="779"/>
          <ac:cxnSpMkLst>
            <pc:docMk/>
            <pc:sldMk cId="3896747607" sldId="2147476977"/>
            <ac:cxnSpMk id="19" creationId="{DF452FDE-D846-A34D-8490-F0BC5B829A79}"/>
          </ac:cxnSpMkLst>
        </pc:cxnChg>
        <pc:cxnChg chg="mod">
          <ac:chgData name="IGOR Lopez Orbe" userId="ec57996b-2ae4-4e7e-b3b5-41577a83a4a5" providerId="ADAL" clId="{A083E977-882E-462D-8122-B9E3AAD5933C}" dt="2023-10-03T14:14:58.562" v="779"/>
          <ac:cxnSpMkLst>
            <pc:docMk/>
            <pc:sldMk cId="3896747607" sldId="2147476977"/>
            <ac:cxnSpMk id="20" creationId="{46BA7280-47AE-41ED-FA68-6DEEF8F68C37}"/>
          </ac:cxnSpMkLst>
        </pc:cxnChg>
        <pc:cxnChg chg="mod">
          <ac:chgData name="IGOR Lopez Orbe" userId="ec57996b-2ae4-4e7e-b3b5-41577a83a4a5" providerId="ADAL" clId="{A083E977-882E-462D-8122-B9E3AAD5933C}" dt="2023-10-03T14:14:58.562" v="779"/>
          <ac:cxnSpMkLst>
            <pc:docMk/>
            <pc:sldMk cId="3896747607" sldId="2147476977"/>
            <ac:cxnSpMk id="23" creationId="{F5F7BFEE-035D-0981-97B6-B230AA26049E}"/>
          </ac:cxnSpMkLst>
        </pc:cxnChg>
      </pc:sldChg>
      <pc:sldChg chg="addSp delSp modSp add mod">
        <pc:chgData name="IGOR Lopez Orbe" userId="ec57996b-2ae4-4e7e-b3b5-41577a83a4a5" providerId="ADAL" clId="{A083E977-882E-462D-8122-B9E3AAD5933C}" dt="2023-10-03T14:16:39.787" v="786" actId="1076"/>
        <pc:sldMkLst>
          <pc:docMk/>
          <pc:sldMk cId="867304578" sldId="2147476978"/>
        </pc:sldMkLst>
        <pc:spChg chg="add mod">
          <ac:chgData name="IGOR Lopez Orbe" userId="ec57996b-2ae4-4e7e-b3b5-41577a83a4a5" providerId="ADAL" clId="{A083E977-882E-462D-8122-B9E3AAD5933C}" dt="2023-10-03T14:16:36.290" v="785"/>
          <ac:spMkLst>
            <pc:docMk/>
            <pc:sldMk cId="867304578" sldId="2147476978"/>
            <ac:spMk id="2" creationId="{E691B1A6-B7E5-D3C6-EE6D-9CB65C78F378}"/>
          </ac:spMkLst>
        </pc:spChg>
        <pc:spChg chg="del">
          <ac:chgData name="IGOR Lopez Orbe" userId="ec57996b-2ae4-4e7e-b3b5-41577a83a4a5" providerId="ADAL" clId="{A083E977-882E-462D-8122-B9E3AAD5933C}" dt="2023-10-03T14:16:16.378" v="782" actId="478"/>
          <ac:spMkLst>
            <pc:docMk/>
            <pc:sldMk cId="867304578" sldId="2147476978"/>
            <ac:spMk id="3" creationId="{0440737B-DCBD-D45E-7CD0-A80840684F6F}"/>
          </ac:spMkLst>
        </pc:spChg>
        <pc:spChg chg="del">
          <ac:chgData name="IGOR Lopez Orbe" userId="ec57996b-2ae4-4e7e-b3b5-41577a83a4a5" providerId="ADAL" clId="{A083E977-882E-462D-8122-B9E3AAD5933C}" dt="2023-10-03T14:16:16.378" v="782" actId="478"/>
          <ac:spMkLst>
            <pc:docMk/>
            <pc:sldMk cId="867304578" sldId="2147476978"/>
            <ac:spMk id="4" creationId="{79E0FDFA-0B36-1426-8EAD-150B5A8ADA9A}"/>
          </ac:spMkLst>
        </pc:spChg>
        <pc:spChg chg="del">
          <ac:chgData name="IGOR Lopez Orbe" userId="ec57996b-2ae4-4e7e-b3b5-41577a83a4a5" providerId="ADAL" clId="{A083E977-882E-462D-8122-B9E3AAD5933C}" dt="2023-10-03T14:16:16.378" v="782" actId="478"/>
          <ac:spMkLst>
            <pc:docMk/>
            <pc:sldMk cId="867304578" sldId="2147476978"/>
            <ac:spMk id="7" creationId="{412EE567-4672-2616-6645-C0B3453D767A}"/>
          </ac:spMkLst>
        </pc:spChg>
        <pc:spChg chg="del">
          <ac:chgData name="IGOR Lopez Orbe" userId="ec57996b-2ae4-4e7e-b3b5-41577a83a4a5" providerId="ADAL" clId="{A083E977-882E-462D-8122-B9E3AAD5933C}" dt="2023-10-03T14:16:16.378" v="782" actId="478"/>
          <ac:spMkLst>
            <pc:docMk/>
            <pc:sldMk cId="867304578" sldId="2147476978"/>
            <ac:spMk id="8" creationId="{9477833D-8B12-FF0D-640D-E9C3544F036D}"/>
          </ac:spMkLst>
        </pc:spChg>
        <pc:spChg chg="add mod">
          <ac:chgData name="IGOR Lopez Orbe" userId="ec57996b-2ae4-4e7e-b3b5-41577a83a4a5" providerId="ADAL" clId="{A083E977-882E-462D-8122-B9E3AAD5933C}" dt="2023-10-03T14:16:36.290" v="785"/>
          <ac:spMkLst>
            <pc:docMk/>
            <pc:sldMk cId="867304578" sldId="2147476978"/>
            <ac:spMk id="9" creationId="{D096CB87-3F37-A355-238A-C9E2F0DFA866}"/>
          </ac:spMkLst>
        </pc:spChg>
        <pc:spChg chg="del">
          <ac:chgData name="IGOR Lopez Orbe" userId="ec57996b-2ae4-4e7e-b3b5-41577a83a4a5" providerId="ADAL" clId="{A083E977-882E-462D-8122-B9E3AAD5933C}" dt="2023-10-03T14:16:16.378" v="782" actId="478"/>
          <ac:spMkLst>
            <pc:docMk/>
            <pc:sldMk cId="867304578" sldId="2147476978"/>
            <ac:spMk id="14" creationId="{3E3AB092-ED20-7893-8014-19E69913B0FA}"/>
          </ac:spMkLst>
        </pc:spChg>
        <pc:spChg chg="add mod">
          <ac:chgData name="IGOR Lopez Orbe" userId="ec57996b-2ae4-4e7e-b3b5-41577a83a4a5" providerId="ADAL" clId="{A083E977-882E-462D-8122-B9E3AAD5933C}" dt="2023-10-03T14:16:36.290" v="785"/>
          <ac:spMkLst>
            <pc:docMk/>
            <pc:sldMk cId="867304578" sldId="2147476978"/>
            <ac:spMk id="24" creationId="{3424FAEE-1900-4164-EAA9-1BFF67C13968}"/>
          </ac:spMkLst>
        </pc:spChg>
        <pc:spChg chg="add mod">
          <ac:chgData name="IGOR Lopez Orbe" userId="ec57996b-2ae4-4e7e-b3b5-41577a83a4a5" providerId="ADAL" clId="{A083E977-882E-462D-8122-B9E3AAD5933C}" dt="2023-10-03T14:16:36.290" v="785"/>
          <ac:spMkLst>
            <pc:docMk/>
            <pc:sldMk cId="867304578" sldId="2147476978"/>
            <ac:spMk id="25" creationId="{04CEBC6F-B838-77FF-5D3E-0AA276E53E63}"/>
          </ac:spMkLst>
        </pc:spChg>
        <pc:spChg chg="add mod">
          <ac:chgData name="IGOR Lopez Orbe" userId="ec57996b-2ae4-4e7e-b3b5-41577a83a4a5" providerId="ADAL" clId="{A083E977-882E-462D-8122-B9E3AAD5933C}" dt="2023-10-03T14:16:36.290" v="785"/>
          <ac:spMkLst>
            <pc:docMk/>
            <pc:sldMk cId="867304578" sldId="2147476978"/>
            <ac:spMk id="28" creationId="{FDF5E98B-321F-2A9A-8B2B-AD373FCE8A9C}"/>
          </ac:spMkLst>
        </pc:spChg>
        <pc:grpChg chg="del">
          <ac:chgData name="IGOR Lopez Orbe" userId="ec57996b-2ae4-4e7e-b3b5-41577a83a4a5" providerId="ADAL" clId="{A083E977-882E-462D-8122-B9E3AAD5933C}" dt="2023-10-03T14:16:16.378" v="782" actId="478"/>
          <ac:grpSpMkLst>
            <pc:docMk/>
            <pc:sldMk cId="867304578" sldId="2147476978"/>
            <ac:grpSpMk id="10" creationId="{D7FB2971-5E31-10B3-1998-E25E029C709A}"/>
          </ac:grpSpMkLst>
        </pc:grpChg>
        <pc:grpChg chg="del">
          <ac:chgData name="IGOR Lopez Orbe" userId="ec57996b-2ae4-4e7e-b3b5-41577a83a4a5" providerId="ADAL" clId="{A083E977-882E-462D-8122-B9E3AAD5933C}" dt="2023-10-03T14:16:16.378" v="782" actId="478"/>
          <ac:grpSpMkLst>
            <pc:docMk/>
            <pc:sldMk cId="867304578" sldId="2147476978"/>
            <ac:grpSpMk id="18" creationId="{8E2EAA6B-658F-EAA4-2B27-B3E19B438F5A}"/>
          </ac:grpSpMkLst>
        </pc:grpChg>
        <pc:graphicFrameChg chg="del">
          <ac:chgData name="IGOR Lopez Orbe" userId="ec57996b-2ae4-4e7e-b3b5-41577a83a4a5" providerId="ADAL" clId="{A083E977-882E-462D-8122-B9E3AAD5933C}" dt="2023-10-03T14:16:16.378" v="782" actId="478"/>
          <ac:graphicFrameMkLst>
            <pc:docMk/>
            <pc:sldMk cId="867304578" sldId="2147476978"/>
            <ac:graphicFrameMk id="6" creationId="{BE7B739E-758A-186C-F2E3-560525CE044E}"/>
          </ac:graphicFrameMkLst>
        </pc:graphicFrameChg>
        <pc:picChg chg="del">
          <ac:chgData name="IGOR Lopez Orbe" userId="ec57996b-2ae4-4e7e-b3b5-41577a83a4a5" providerId="ADAL" clId="{A083E977-882E-462D-8122-B9E3AAD5933C}" dt="2023-10-03T14:16:16.378" v="782" actId="478"/>
          <ac:picMkLst>
            <pc:docMk/>
            <pc:sldMk cId="867304578" sldId="2147476978"/>
            <ac:picMk id="15" creationId="{2BD6D928-2CE7-7818-E5C6-ABBC7FD60A7D}"/>
          </ac:picMkLst>
        </pc:picChg>
        <pc:picChg chg="del">
          <ac:chgData name="IGOR Lopez Orbe" userId="ec57996b-2ae4-4e7e-b3b5-41577a83a4a5" providerId="ADAL" clId="{A083E977-882E-462D-8122-B9E3AAD5933C}" dt="2023-10-03T14:16:16.378" v="782" actId="478"/>
          <ac:picMkLst>
            <pc:docMk/>
            <pc:sldMk cId="867304578" sldId="2147476978"/>
            <ac:picMk id="17" creationId="{601F5FAE-9495-7D05-CEEC-74D614A97CC9}"/>
          </ac:picMkLst>
        </pc:picChg>
        <pc:picChg chg="add mod">
          <ac:chgData name="IGOR Lopez Orbe" userId="ec57996b-2ae4-4e7e-b3b5-41577a83a4a5" providerId="ADAL" clId="{A083E977-882E-462D-8122-B9E3AAD5933C}" dt="2023-10-03T14:16:39.787" v="786" actId="1076"/>
          <ac:picMkLst>
            <pc:docMk/>
            <pc:sldMk cId="867304578" sldId="2147476978"/>
            <ac:picMk id="26" creationId="{F6AA34EC-9DC2-765D-54CA-D0702496B2B3}"/>
          </ac:picMkLst>
        </pc:picChg>
        <pc:picChg chg="add mod">
          <ac:chgData name="IGOR Lopez Orbe" userId="ec57996b-2ae4-4e7e-b3b5-41577a83a4a5" providerId="ADAL" clId="{A083E977-882E-462D-8122-B9E3AAD5933C}" dt="2023-10-03T14:16:36.290" v="785"/>
          <ac:picMkLst>
            <pc:docMk/>
            <pc:sldMk cId="867304578" sldId="2147476978"/>
            <ac:picMk id="27" creationId="{CDB3831B-8427-B6E8-8185-B6AF3D487539}"/>
          </ac:picMkLst>
        </pc:picChg>
      </pc:sldChg>
      <pc:sldChg chg="addSp delSp modSp add mod">
        <pc:chgData name="IGOR Lopez Orbe" userId="ec57996b-2ae4-4e7e-b3b5-41577a83a4a5" providerId="ADAL" clId="{A083E977-882E-462D-8122-B9E3AAD5933C}" dt="2023-10-03T14:17:16.043" v="791" actId="1076"/>
        <pc:sldMkLst>
          <pc:docMk/>
          <pc:sldMk cId="2458159707" sldId="2147476979"/>
        </pc:sldMkLst>
        <pc:spChg chg="add del mod">
          <ac:chgData name="IGOR Lopez Orbe" userId="ec57996b-2ae4-4e7e-b3b5-41577a83a4a5" providerId="ADAL" clId="{A083E977-882E-462D-8122-B9E3AAD5933C}" dt="2023-10-03T14:17:06.386" v="789" actId="478"/>
          <ac:spMkLst>
            <pc:docMk/>
            <pc:sldMk cId="2458159707" sldId="2147476979"/>
            <ac:spMk id="2" creationId="{42C0407A-8175-2A61-3253-F4B217F200C4}"/>
          </ac:spMkLst>
        </pc:spChg>
        <pc:spChg chg="add del mod">
          <ac:chgData name="IGOR Lopez Orbe" userId="ec57996b-2ae4-4e7e-b3b5-41577a83a4a5" providerId="ADAL" clId="{A083E977-882E-462D-8122-B9E3AAD5933C}" dt="2023-10-03T14:17:06.386" v="789" actId="478"/>
          <ac:spMkLst>
            <pc:docMk/>
            <pc:sldMk cId="2458159707" sldId="2147476979"/>
            <ac:spMk id="3" creationId="{355B5DAC-49D5-6EB4-27FB-AE3D94C21448}"/>
          </ac:spMkLst>
        </pc:spChg>
        <pc:spChg chg="add del mod">
          <ac:chgData name="IGOR Lopez Orbe" userId="ec57996b-2ae4-4e7e-b3b5-41577a83a4a5" providerId="ADAL" clId="{A083E977-882E-462D-8122-B9E3AAD5933C}" dt="2023-10-03T14:17:06.386" v="789" actId="478"/>
          <ac:spMkLst>
            <pc:docMk/>
            <pc:sldMk cId="2458159707" sldId="2147476979"/>
            <ac:spMk id="4" creationId="{0DF1B020-9FF7-5F9E-982B-76285220B04A}"/>
          </ac:spMkLst>
        </pc:spChg>
        <pc:spChg chg="add del mod">
          <ac:chgData name="IGOR Lopez Orbe" userId="ec57996b-2ae4-4e7e-b3b5-41577a83a4a5" providerId="ADAL" clId="{A083E977-882E-462D-8122-B9E3AAD5933C}" dt="2023-10-03T14:17:06.386" v="789" actId="478"/>
          <ac:spMkLst>
            <pc:docMk/>
            <pc:sldMk cId="2458159707" sldId="2147476979"/>
            <ac:spMk id="8" creationId="{AA6941DB-86B0-042D-104D-161C88FF1C3A}"/>
          </ac:spMkLst>
        </pc:spChg>
        <pc:spChg chg="add del mod">
          <ac:chgData name="IGOR Lopez Orbe" userId="ec57996b-2ae4-4e7e-b3b5-41577a83a4a5" providerId="ADAL" clId="{A083E977-882E-462D-8122-B9E3AAD5933C}" dt="2023-10-03T14:17:06.386" v="789" actId="478"/>
          <ac:spMkLst>
            <pc:docMk/>
            <pc:sldMk cId="2458159707" sldId="2147476979"/>
            <ac:spMk id="9" creationId="{44C4AF87-5224-42D4-5781-40964F7BFFDB}"/>
          </ac:spMkLst>
        </pc:spChg>
        <pc:spChg chg="add del mod">
          <ac:chgData name="IGOR Lopez Orbe" userId="ec57996b-2ae4-4e7e-b3b5-41577a83a4a5" providerId="ADAL" clId="{A083E977-882E-462D-8122-B9E3AAD5933C}" dt="2023-10-03T14:17:06.386" v="789" actId="478"/>
          <ac:spMkLst>
            <pc:docMk/>
            <pc:sldMk cId="2458159707" sldId="2147476979"/>
            <ac:spMk id="10" creationId="{38F08221-2025-3E8D-1EC1-707A14638A85}"/>
          </ac:spMkLst>
        </pc:spChg>
        <pc:spChg chg="add del mod">
          <ac:chgData name="IGOR Lopez Orbe" userId="ec57996b-2ae4-4e7e-b3b5-41577a83a4a5" providerId="ADAL" clId="{A083E977-882E-462D-8122-B9E3AAD5933C}" dt="2023-10-03T14:17:06.386" v="789" actId="478"/>
          <ac:spMkLst>
            <pc:docMk/>
            <pc:sldMk cId="2458159707" sldId="2147476979"/>
            <ac:spMk id="14" creationId="{D5A2257F-08E4-9AE1-F823-58951770584E}"/>
          </ac:spMkLst>
        </pc:spChg>
        <pc:spChg chg="add del mod">
          <ac:chgData name="IGOR Lopez Orbe" userId="ec57996b-2ae4-4e7e-b3b5-41577a83a4a5" providerId="ADAL" clId="{A083E977-882E-462D-8122-B9E3AAD5933C}" dt="2023-10-03T14:17:06.386" v="789" actId="478"/>
          <ac:spMkLst>
            <pc:docMk/>
            <pc:sldMk cId="2458159707" sldId="2147476979"/>
            <ac:spMk id="15" creationId="{975C86B3-507A-79CE-6499-7BE4027DD9B0}"/>
          </ac:spMkLst>
        </pc:spChg>
        <pc:spChg chg="add del mod">
          <ac:chgData name="IGOR Lopez Orbe" userId="ec57996b-2ae4-4e7e-b3b5-41577a83a4a5" providerId="ADAL" clId="{A083E977-882E-462D-8122-B9E3AAD5933C}" dt="2023-10-03T14:17:06.386" v="789" actId="478"/>
          <ac:spMkLst>
            <pc:docMk/>
            <pc:sldMk cId="2458159707" sldId="2147476979"/>
            <ac:spMk id="17" creationId="{EB345F5B-89DA-E02A-DC9D-A803D0BB2CB5}"/>
          </ac:spMkLst>
        </pc:spChg>
        <pc:spChg chg="add del mod">
          <ac:chgData name="IGOR Lopez Orbe" userId="ec57996b-2ae4-4e7e-b3b5-41577a83a4a5" providerId="ADAL" clId="{A083E977-882E-462D-8122-B9E3AAD5933C}" dt="2023-10-03T14:17:06.386" v="789" actId="478"/>
          <ac:spMkLst>
            <pc:docMk/>
            <pc:sldMk cId="2458159707" sldId="2147476979"/>
            <ac:spMk id="18" creationId="{15C0DF91-04C2-F47A-E936-CF9369B22BF6}"/>
          </ac:spMkLst>
        </pc:spChg>
        <pc:spChg chg="add del mod">
          <ac:chgData name="IGOR Lopez Orbe" userId="ec57996b-2ae4-4e7e-b3b5-41577a83a4a5" providerId="ADAL" clId="{A083E977-882E-462D-8122-B9E3AAD5933C}" dt="2023-10-03T14:17:06.386" v="789" actId="478"/>
          <ac:spMkLst>
            <pc:docMk/>
            <pc:sldMk cId="2458159707" sldId="2147476979"/>
            <ac:spMk id="19" creationId="{C986AEB9-D075-8232-4C2F-103815039F2E}"/>
          </ac:spMkLst>
        </pc:spChg>
        <pc:spChg chg="add del mod">
          <ac:chgData name="IGOR Lopez Orbe" userId="ec57996b-2ae4-4e7e-b3b5-41577a83a4a5" providerId="ADAL" clId="{A083E977-882E-462D-8122-B9E3AAD5933C}" dt="2023-10-03T14:17:06.386" v="789" actId="478"/>
          <ac:spMkLst>
            <pc:docMk/>
            <pc:sldMk cId="2458159707" sldId="2147476979"/>
            <ac:spMk id="20" creationId="{2A335905-4228-F936-B287-F5AE475294BA}"/>
          </ac:spMkLst>
        </pc:spChg>
        <pc:spChg chg="add mod">
          <ac:chgData name="IGOR Lopez Orbe" userId="ec57996b-2ae4-4e7e-b3b5-41577a83a4a5" providerId="ADAL" clId="{A083E977-882E-462D-8122-B9E3AAD5933C}" dt="2023-10-03T14:16:53.315" v="787"/>
          <ac:spMkLst>
            <pc:docMk/>
            <pc:sldMk cId="2458159707" sldId="2147476979"/>
            <ac:spMk id="23" creationId="{06EA67EA-5056-A5CA-8E1F-65AF558E0446}"/>
          </ac:spMkLst>
        </pc:spChg>
        <pc:spChg chg="add del mod">
          <ac:chgData name="IGOR Lopez Orbe" userId="ec57996b-2ae4-4e7e-b3b5-41577a83a4a5" providerId="ADAL" clId="{A083E977-882E-462D-8122-B9E3AAD5933C}" dt="2023-10-03T14:17:06.386" v="789" actId="478"/>
          <ac:spMkLst>
            <pc:docMk/>
            <pc:sldMk cId="2458159707" sldId="2147476979"/>
            <ac:spMk id="24" creationId="{3F2E0510-F5A2-AE3A-7F5B-F3DF903A22CC}"/>
          </ac:spMkLst>
        </pc:spChg>
        <pc:spChg chg="add del mod">
          <ac:chgData name="IGOR Lopez Orbe" userId="ec57996b-2ae4-4e7e-b3b5-41577a83a4a5" providerId="ADAL" clId="{A083E977-882E-462D-8122-B9E3AAD5933C}" dt="2023-10-03T14:17:06.386" v="789" actId="478"/>
          <ac:spMkLst>
            <pc:docMk/>
            <pc:sldMk cId="2458159707" sldId="2147476979"/>
            <ac:spMk id="25" creationId="{901D2219-25F2-0FE5-4026-30BA720B1A59}"/>
          </ac:spMkLst>
        </pc:spChg>
        <pc:spChg chg="add del mod">
          <ac:chgData name="IGOR Lopez Orbe" userId="ec57996b-2ae4-4e7e-b3b5-41577a83a4a5" providerId="ADAL" clId="{A083E977-882E-462D-8122-B9E3AAD5933C}" dt="2023-10-03T14:17:06.386" v="789" actId="478"/>
          <ac:spMkLst>
            <pc:docMk/>
            <pc:sldMk cId="2458159707" sldId="2147476979"/>
            <ac:spMk id="26" creationId="{585B2478-6EE0-EFA9-39BA-4FBFFA4D13C9}"/>
          </ac:spMkLst>
        </pc:spChg>
        <pc:spChg chg="add mod">
          <ac:chgData name="IGOR Lopez Orbe" userId="ec57996b-2ae4-4e7e-b3b5-41577a83a4a5" providerId="ADAL" clId="{A083E977-882E-462D-8122-B9E3AAD5933C}" dt="2023-10-03T14:16:58.124" v="788" actId="1076"/>
          <ac:spMkLst>
            <pc:docMk/>
            <pc:sldMk cId="2458159707" sldId="2147476979"/>
            <ac:spMk id="27" creationId="{AC821870-8265-0463-56DB-302CABF37154}"/>
          </ac:spMkLst>
        </pc:spChg>
        <pc:picChg chg="add mod">
          <ac:chgData name="IGOR Lopez Orbe" userId="ec57996b-2ae4-4e7e-b3b5-41577a83a4a5" providerId="ADAL" clId="{A083E977-882E-462D-8122-B9E3AAD5933C}" dt="2023-10-03T14:17:16.043" v="791" actId="1076"/>
          <ac:picMkLst>
            <pc:docMk/>
            <pc:sldMk cId="2458159707" sldId="2147476979"/>
            <ac:picMk id="28" creationId="{D2F00AEC-F83F-69C4-82B8-69753BC40BB1}"/>
          </ac:picMkLst>
        </pc:picChg>
        <pc:cxnChg chg="add del mod">
          <ac:chgData name="IGOR Lopez Orbe" userId="ec57996b-2ae4-4e7e-b3b5-41577a83a4a5" providerId="ADAL" clId="{A083E977-882E-462D-8122-B9E3AAD5933C}" dt="2023-10-03T14:17:06.386" v="789" actId="478"/>
          <ac:cxnSpMkLst>
            <pc:docMk/>
            <pc:sldMk cId="2458159707" sldId="2147476979"/>
            <ac:cxnSpMk id="6" creationId="{13A1240B-BF60-C5D9-61D9-723FFC4D11EB}"/>
          </ac:cxnSpMkLst>
        </pc:cxnChg>
        <pc:cxnChg chg="add del mod">
          <ac:chgData name="IGOR Lopez Orbe" userId="ec57996b-2ae4-4e7e-b3b5-41577a83a4a5" providerId="ADAL" clId="{A083E977-882E-462D-8122-B9E3AAD5933C}" dt="2023-10-03T14:17:06.386" v="789" actId="478"/>
          <ac:cxnSpMkLst>
            <pc:docMk/>
            <pc:sldMk cId="2458159707" sldId="2147476979"/>
            <ac:cxnSpMk id="7" creationId="{0AD9EE98-0404-F9B6-DB53-67B5686EDDB8}"/>
          </ac:cxnSpMkLst>
        </pc:cxnChg>
        <pc:cxnChg chg="add del mod">
          <ac:chgData name="IGOR Lopez Orbe" userId="ec57996b-2ae4-4e7e-b3b5-41577a83a4a5" providerId="ADAL" clId="{A083E977-882E-462D-8122-B9E3AAD5933C}" dt="2023-10-03T14:17:06.386" v="789" actId="478"/>
          <ac:cxnSpMkLst>
            <pc:docMk/>
            <pc:sldMk cId="2458159707" sldId="2147476979"/>
            <ac:cxnSpMk id="11" creationId="{FC95DC3F-4118-6E11-B302-CDD1DDD206CD}"/>
          </ac:cxnSpMkLst>
        </pc:cxnChg>
        <pc:cxnChg chg="add del mod">
          <ac:chgData name="IGOR Lopez Orbe" userId="ec57996b-2ae4-4e7e-b3b5-41577a83a4a5" providerId="ADAL" clId="{A083E977-882E-462D-8122-B9E3AAD5933C}" dt="2023-10-03T14:17:06.386" v="789" actId="478"/>
          <ac:cxnSpMkLst>
            <pc:docMk/>
            <pc:sldMk cId="2458159707" sldId="2147476979"/>
            <ac:cxnSpMk id="12" creationId="{B608A192-C362-C0C8-3737-F180B5C62DF5}"/>
          </ac:cxnSpMkLst>
        </pc:cxnChg>
      </pc:sldChg>
      <pc:sldChg chg="addSp modSp add mod">
        <pc:chgData name="IGOR Lopez Orbe" userId="ec57996b-2ae4-4e7e-b3b5-41577a83a4a5" providerId="ADAL" clId="{A083E977-882E-462D-8122-B9E3AAD5933C}" dt="2023-10-03T14:17:52.325" v="795" actId="1076"/>
        <pc:sldMkLst>
          <pc:docMk/>
          <pc:sldMk cId="1117868817" sldId="2147476980"/>
        </pc:sldMkLst>
        <pc:spChg chg="add mod">
          <ac:chgData name="IGOR Lopez Orbe" userId="ec57996b-2ae4-4e7e-b3b5-41577a83a4a5" providerId="ADAL" clId="{A083E977-882E-462D-8122-B9E3AAD5933C}" dt="2023-10-03T14:17:52.325" v="795" actId="1076"/>
          <ac:spMkLst>
            <pc:docMk/>
            <pc:sldMk cId="1117868817" sldId="2147476980"/>
            <ac:spMk id="3" creationId="{8C8B9E06-068F-75D3-A1AC-71BB19783B11}"/>
          </ac:spMkLst>
        </pc:spChg>
        <pc:picChg chg="add mod">
          <ac:chgData name="IGOR Lopez Orbe" userId="ec57996b-2ae4-4e7e-b3b5-41577a83a4a5" providerId="ADAL" clId="{A083E977-882E-462D-8122-B9E3AAD5933C}" dt="2023-10-03T14:17:44.976" v="793" actId="1076"/>
          <ac:picMkLst>
            <pc:docMk/>
            <pc:sldMk cId="1117868817" sldId="2147476980"/>
            <ac:picMk id="2" creationId="{71CC470C-6623-E150-621C-1C840A0C3F70}"/>
          </ac:picMkLst>
        </pc:picChg>
      </pc:sldChg>
      <pc:sldChg chg="addSp delSp modSp add mod">
        <pc:chgData name="IGOR Lopez Orbe" userId="ec57996b-2ae4-4e7e-b3b5-41577a83a4a5" providerId="ADAL" clId="{A083E977-882E-462D-8122-B9E3AAD5933C}" dt="2023-10-03T14:18:31.760" v="803" actId="1076"/>
        <pc:sldMkLst>
          <pc:docMk/>
          <pc:sldMk cId="2780752309" sldId="2147476981"/>
        </pc:sldMkLst>
        <pc:spChg chg="del">
          <ac:chgData name="IGOR Lopez Orbe" userId="ec57996b-2ae4-4e7e-b3b5-41577a83a4a5" providerId="ADAL" clId="{A083E977-882E-462D-8122-B9E3AAD5933C}" dt="2023-10-03T14:18:09.152" v="797" actId="478"/>
          <ac:spMkLst>
            <pc:docMk/>
            <pc:sldMk cId="2780752309" sldId="2147476981"/>
            <ac:spMk id="3" creationId="{8C8B9E06-068F-75D3-A1AC-71BB19783B11}"/>
          </ac:spMkLst>
        </pc:spChg>
        <pc:spChg chg="add mod">
          <ac:chgData name="IGOR Lopez Orbe" userId="ec57996b-2ae4-4e7e-b3b5-41577a83a4a5" providerId="ADAL" clId="{A083E977-882E-462D-8122-B9E3AAD5933C}" dt="2023-10-03T14:18:17.178" v="799"/>
          <ac:spMkLst>
            <pc:docMk/>
            <pc:sldMk cId="2780752309" sldId="2147476981"/>
            <ac:spMk id="4" creationId="{CEA548BE-77BA-90D3-F286-29396846489B}"/>
          </ac:spMkLst>
        </pc:spChg>
        <pc:picChg chg="del">
          <ac:chgData name="IGOR Lopez Orbe" userId="ec57996b-2ae4-4e7e-b3b5-41577a83a4a5" providerId="ADAL" clId="{A083E977-882E-462D-8122-B9E3AAD5933C}" dt="2023-10-03T14:18:10.727" v="798" actId="478"/>
          <ac:picMkLst>
            <pc:docMk/>
            <pc:sldMk cId="2780752309" sldId="2147476981"/>
            <ac:picMk id="2" creationId="{71CC470C-6623-E150-621C-1C840A0C3F70}"/>
          </ac:picMkLst>
        </pc:picChg>
        <pc:picChg chg="add mod">
          <ac:chgData name="IGOR Lopez Orbe" userId="ec57996b-2ae4-4e7e-b3b5-41577a83a4a5" providerId="ADAL" clId="{A083E977-882E-462D-8122-B9E3AAD5933C}" dt="2023-10-03T14:18:31.760" v="803" actId="1076"/>
          <ac:picMkLst>
            <pc:docMk/>
            <pc:sldMk cId="2780752309" sldId="2147476981"/>
            <ac:picMk id="6" creationId="{3A2F2423-7022-BA5A-CAA6-EAB6AADD056F}"/>
          </ac:picMkLst>
        </pc:picChg>
      </pc:sldChg>
      <pc:sldChg chg="new del">
        <pc:chgData name="IGOR Lopez Orbe" userId="ec57996b-2ae4-4e7e-b3b5-41577a83a4a5" providerId="ADAL" clId="{A083E977-882E-462D-8122-B9E3AAD5933C}" dt="2023-10-03T14:20:37.241" v="811" actId="680"/>
        <pc:sldMkLst>
          <pc:docMk/>
          <pc:sldMk cId="3415262640" sldId="2147476982"/>
        </pc:sldMkLst>
      </pc:sldChg>
      <pc:sldChg chg="addSp delSp modSp new mod">
        <pc:chgData name="IGOR Lopez Orbe" userId="ec57996b-2ae4-4e7e-b3b5-41577a83a4a5" providerId="ADAL" clId="{A083E977-882E-462D-8122-B9E3AAD5933C}" dt="2023-10-03T14:21:17.791" v="817" actId="478"/>
        <pc:sldMkLst>
          <pc:docMk/>
          <pc:sldMk cId="4215749138" sldId="2147476982"/>
        </pc:sldMkLst>
        <pc:spChg chg="mod">
          <ac:chgData name="IGOR Lopez Orbe" userId="ec57996b-2ae4-4e7e-b3b5-41577a83a4a5" providerId="ADAL" clId="{A083E977-882E-462D-8122-B9E3AAD5933C}" dt="2023-10-03T14:21:01.510" v="814" actId="20577"/>
          <ac:spMkLst>
            <pc:docMk/>
            <pc:sldMk cId="4215749138" sldId="2147476982"/>
            <ac:spMk id="3" creationId="{A48C40F2-987E-005A-5E97-1C3A50AEDBA8}"/>
          </ac:spMkLst>
        </pc:spChg>
        <pc:spChg chg="mod">
          <ac:chgData name="IGOR Lopez Orbe" userId="ec57996b-2ae4-4e7e-b3b5-41577a83a4a5" providerId="ADAL" clId="{A083E977-882E-462D-8122-B9E3AAD5933C}" dt="2023-10-03T14:20:59.312" v="813"/>
          <ac:spMkLst>
            <pc:docMk/>
            <pc:sldMk cId="4215749138" sldId="2147476982"/>
            <ac:spMk id="4" creationId="{F2A0D026-C7E9-9088-1D79-204A4B0A6DC3}"/>
          </ac:spMkLst>
        </pc:spChg>
        <pc:spChg chg="del">
          <ac:chgData name="IGOR Lopez Orbe" userId="ec57996b-2ae4-4e7e-b3b5-41577a83a4a5" providerId="ADAL" clId="{A083E977-882E-462D-8122-B9E3AAD5933C}" dt="2023-10-03T14:21:17.791" v="817" actId="478"/>
          <ac:spMkLst>
            <pc:docMk/>
            <pc:sldMk cId="4215749138" sldId="2147476982"/>
            <ac:spMk id="5" creationId="{3C8DBB90-1AB1-EB1A-C2BA-74ACAF85DAFE}"/>
          </ac:spMkLst>
        </pc:spChg>
        <pc:spChg chg="del">
          <ac:chgData name="IGOR Lopez Orbe" userId="ec57996b-2ae4-4e7e-b3b5-41577a83a4a5" providerId="ADAL" clId="{A083E977-882E-462D-8122-B9E3AAD5933C}" dt="2023-10-03T14:21:11.078" v="815" actId="478"/>
          <ac:spMkLst>
            <pc:docMk/>
            <pc:sldMk cId="4215749138" sldId="2147476982"/>
            <ac:spMk id="6" creationId="{B36B21B7-CF68-F9BB-427C-EA4F762F9EC8}"/>
          </ac:spMkLst>
        </pc:spChg>
        <pc:spChg chg="del">
          <ac:chgData name="IGOR Lopez Orbe" userId="ec57996b-2ae4-4e7e-b3b5-41577a83a4a5" providerId="ADAL" clId="{A083E977-882E-462D-8122-B9E3AAD5933C}" dt="2023-10-03T14:21:11.078" v="815" actId="478"/>
          <ac:spMkLst>
            <pc:docMk/>
            <pc:sldMk cId="4215749138" sldId="2147476982"/>
            <ac:spMk id="7" creationId="{8AEEEFE9-E44B-1F3F-2FB3-1B057B41F815}"/>
          </ac:spMkLst>
        </pc:spChg>
        <pc:spChg chg="add mod">
          <ac:chgData name="IGOR Lopez Orbe" userId="ec57996b-2ae4-4e7e-b3b5-41577a83a4a5" providerId="ADAL" clId="{A083E977-882E-462D-8122-B9E3AAD5933C}" dt="2023-10-03T14:21:11.383" v="816"/>
          <ac:spMkLst>
            <pc:docMk/>
            <pc:sldMk cId="4215749138" sldId="2147476982"/>
            <ac:spMk id="8" creationId="{CEC1CB13-8AC8-090B-A5FF-13978F94E06A}"/>
          </ac:spMkLst>
        </pc:spChg>
        <pc:spChg chg="add mod">
          <ac:chgData name="IGOR Lopez Orbe" userId="ec57996b-2ae4-4e7e-b3b5-41577a83a4a5" providerId="ADAL" clId="{A083E977-882E-462D-8122-B9E3AAD5933C}" dt="2023-10-03T14:21:11.383" v="816"/>
          <ac:spMkLst>
            <pc:docMk/>
            <pc:sldMk cId="4215749138" sldId="2147476982"/>
            <ac:spMk id="9" creationId="{7BC8A5DE-4943-C676-0514-19C77F3B55ED}"/>
          </ac:spMkLst>
        </pc:spChg>
      </pc:sldChg>
      <pc:sldChg chg="addSp delSp modSp new mod modClrScheme chgLayout">
        <pc:chgData name="IGOR Lopez Orbe" userId="ec57996b-2ae4-4e7e-b3b5-41577a83a4a5" providerId="ADAL" clId="{A083E977-882E-462D-8122-B9E3AAD5933C}" dt="2023-10-03T14:36:15.423" v="1453" actId="478"/>
        <pc:sldMkLst>
          <pc:docMk/>
          <pc:sldMk cId="2815638965" sldId="2147476983"/>
        </pc:sldMkLst>
        <pc:spChg chg="mod ord">
          <ac:chgData name="IGOR Lopez Orbe" userId="ec57996b-2ae4-4e7e-b3b5-41577a83a4a5" providerId="ADAL" clId="{A083E977-882E-462D-8122-B9E3AAD5933C}" dt="2023-10-03T14:35:35.805" v="1442" actId="700"/>
          <ac:spMkLst>
            <pc:docMk/>
            <pc:sldMk cId="2815638965" sldId="2147476983"/>
            <ac:spMk id="2" creationId="{DDDB936A-E35D-81DF-C5A0-0638449D0DDA}"/>
          </ac:spMkLst>
        </pc:spChg>
        <pc:spChg chg="del mod ord">
          <ac:chgData name="IGOR Lopez Orbe" userId="ec57996b-2ae4-4e7e-b3b5-41577a83a4a5" providerId="ADAL" clId="{A083E977-882E-462D-8122-B9E3AAD5933C}" dt="2023-10-03T14:35:35.805" v="1442" actId="700"/>
          <ac:spMkLst>
            <pc:docMk/>
            <pc:sldMk cId="2815638965" sldId="2147476983"/>
            <ac:spMk id="3" creationId="{A537588F-DD9B-501D-50DF-4BC112686668}"/>
          </ac:spMkLst>
        </pc:spChg>
        <pc:spChg chg="del mod ord">
          <ac:chgData name="IGOR Lopez Orbe" userId="ec57996b-2ae4-4e7e-b3b5-41577a83a4a5" providerId="ADAL" clId="{A083E977-882E-462D-8122-B9E3AAD5933C}" dt="2023-10-03T14:35:35.805" v="1442" actId="700"/>
          <ac:spMkLst>
            <pc:docMk/>
            <pc:sldMk cId="2815638965" sldId="2147476983"/>
            <ac:spMk id="4" creationId="{6E66910B-84FD-8EF3-4925-C8B6BB88338A}"/>
          </ac:spMkLst>
        </pc:spChg>
        <pc:spChg chg="del mod ord">
          <ac:chgData name="IGOR Lopez Orbe" userId="ec57996b-2ae4-4e7e-b3b5-41577a83a4a5" providerId="ADAL" clId="{A083E977-882E-462D-8122-B9E3AAD5933C}" dt="2023-10-03T14:35:35.805" v="1442" actId="700"/>
          <ac:spMkLst>
            <pc:docMk/>
            <pc:sldMk cId="2815638965" sldId="2147476983"/>
            <ac:spMk id="5" creationId="{827AC2E3-A16A-C60E-F4CB-3938DACE4F11}"/>
          </ac:spMkLst>
        </pc:spChg>
        <pc:spChg chg="del mod ord">
          <ac:chgData name="IGOR Lopez Orbe" userId="ec57996b-2ae4-4e7e-b3b5-41577a83a4a5" providerId="ADAL" clId="{A083E977-882E-462D-8122-B9E3AAD5933C}" dt="2023-10-03T14:35:35.805" v="1442" actId="700"/>
          <ac:spMkLst>
            <pc:docMk/>
            <pc:sldMk cId="2815638965" sldId="2147476983"/>
            <ac:spMk id="6" creationId="{A9314106-FD4B-BAC7-14E0-35003A1FD4DA}"/>
          </ac:spMkLst>
        </pc:spChg>
        <pc:spChg chg="del mod ord">
          <ac:chgData name="IGOR Lopez Orbe" userId="ec57996b-2ae4-4e7e-b3b5-41577a83a4a5" providerId="ADAL" clId="{A083E977-882E-462D-8122-B9E3AAD5933C}" dt="2023-10-03T14:35:35.805" v="1442" actId="700"/>
          <ac:spMkLst>
            <pc:docMk/>
            <pc:sldMk cId="2815638965" sldId="2147476983"/>
            <ac:spMk id="7" creationId="{D176166E-C6B5-9A62-6B51-40B83C9B0E1C}"/>
          </ac:spMkLst>
        </pc:spChg>
        <pc:spChg chg="add del mod ord">
          <ac:chgData name="IGOR Lopez Orbe" userId="ec57996b-2ae4-4e7e-b3b5-41577a83a4a5" providerId="ADAL" clId="{A083E977-882E-462D-8122-B9E3AAD5933C}" dt="2023-10-03T14:36:05.836" v="1450" actId="478"/>
          <ac:spMkLst>
            <pc:docMk/>
            <pc:sldMk cId="2815638965" sldId="2147476983"/>
            <ac:spMk id="8" creationId="{BAA83509-9F90-CBCE-96F7-CE13D46576B7}"/>
          </ac:spMkLst>
        </pc:spChg>
        <pc:spChg chg="add mod ord">
          <ac:chgData name="IGOR Lopez Orbe" userId="ec57996b-2ae4-4e7e-b3b5-41577a83a4a5" providerId="ADAL" clId="{A083E977-882E-462D-8122-B9E3AAD5933C}" dt="2023-10-03T14:35:57.048" v="1449" actId="20577"/>
          <ac:spMkLst>
            <pc:docMk/>
            <pc:sldMk cId="2815638965" sldId="2147476983"/>
            <ac:spMk id="9" creationId="{097A93FF-39FB-886D-1968-6FA84EC707D6}"/>
          </ac:spMkLst>
        </pc:spChg>
        <pc:spChg chg="add mod ord">
          <ac:chgData name="IGOR Lopez Orbe" userId="ec57996b-2ae4-4e7e-b3b5-41577a83a4a5" providerId="ADAL" clId="{A083E977-882E-462D-8122-B9E3AAD5933C}" dt="2023-10-03T14:35:53.470" v="1448" actId="20577"/>
          <ac:spMkLst>
            <pc:docMk/>
            <pc:sldMk cId="2815638965" sldId="2147476983"/>
            <ac:spMk id="10" creationId="{B3AE353B-3157-C78C-7AA1-0E2DEE1B0FB8}"/>
          </ac:spMkLst>
        </pc:spChg>
        <pc:spChg chg="add del mod ord">
          <ac:chgData name="IGOR Lopez Orbe" userId="ec57996b-2ae4-4e7e-b3b5-41577a83a4a5" providerId="ADAL" clId="{A083E977-882E-462D-8122-B9E3AAD5933C}" dt="2023-10-03T14:36:15.423" v="1453" actId="478"/>
          <ac:spMkLst>
            <pc:docMk/>
            <pc:sldMk cId="2815638965" sldId="2147476983"/>
            <ac:spMk id="11" creationId="{93079F75-0CD5-6B40-D6E0-3E53DD285420}"/>
          </ac:spMkLst>
        </pc:spChg>
        <pc:spChg chg="add del mod ord">
          <ac:chgData name="IGOR Lopez Orbe" userId="ec57996b-2ae4-4e7e-b3b5-41577a83a4a5" providerId="ADAL" clId="{A083E977-882E-462D-8122-B9E3AAD5933C}" dt="2023-10-03T14:36:05.836" v="1450" actId="478"/>
          <ac:spMkLst>
            <pc:docMk/>
            <pc:sldMk cId="2815638965" sldId="2147476983"/>
            <ac:spMk id="12" creationId="{1F14779E-F61B-0AD8-E899-3109F9318DDD}"/>
          </ac:spMkLst>
        </pc:spChg>
        <pc:spChg chg="add mod">
          <ac:chgData name="IGOR Lopez Orbe" userId="ec57996b-2ae4-4e7e-b3b5-41577a83a4a5" providerId="ADAL" clId="{A083E977-882E-462D-8122-B9E3AAD5933C}" dt="2023-10-03T14:36:06.218" v="1451"/>
          <ac:spMkLst>
            <pc:docMk/>
            <pc:sldMk cId="2815638965" sldId="2147476983"/>
            <ac:spMk id="13" creationId="{15B5A8F8-F818-B237-6E61-31E25251D914}"/>
          </ac:spMkLst>
        </pc:spChg>
        <pc:spChg chg="add mod">
          <ac:chgData name="IGOR Lopez Orbe" userId="ec57996b-2ae4-4e7e-b3b5-41577a83a4a5" providerId="ADAL" clId="{A083E977-882E-462D-8122-B9E3AAD5933C}" dt="2023-10-03T14:36:06.218" v="1451"/>
          <ac:spMkLst>
            <pc:docMk/>
            <pc:sldMk cId="2815638965" sldId="2147476983"/>
            <ac:spMk id="14" creationId="{DB882A76-B377-9360-F47D-A37D7F858368}"/>
          </ac:spMkLst>
        </pc:spChg>
      </pc:sldChg>
      <pc:sldMasterChg chg="delSldLayout">
        <pc:chgData name="IGOR Lopez Orbe" userId="ec57996b-2ae4-4e7e-b3b5-41577a83a4a5" providerId="ADAL" clId="{A083E977-882E-462D-8122-B9E3AAD5933C}" dt="2023-10-03T14:20:00.960" v="807" actId="47"/>
        <pc:sldMasterMkLst>
          <pc:docMk/>
          <pc:sldMasterMk cId="1522954573" sldId="2147483648"/>
        </pc:sldMasterMkLst>
        <pc:sldLayoutChg chg="del">
          <pc:chgData name="IGOR Lopez Orbe" userId="ec57996b-2ae4-4e7e-b3b5-41577a83a4a5" providerId="ADAL" clId="{A083E977-882E-462D-8122-B9E3AAD5933C}" dt="2023-10-03T14:20:00.960" v="807" actId="47"/>
          <pc:sldLayoutMkLst>
            <pc:docMk/>
            <pc:sldMasterMk cId="1522954573" sldId="2147483648"/>
            <pc:sldLayoutMk cId="2142916347" sldId="2147483686"/>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740473728" sldId="2147483687"/>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4188505602" sldId="2147483688"/>
          </pc:sldLayoutMkLst>
        </pc:sldLayoutChg>
        <pc:sldLayoutChg chg="del">
          <pc:chgData name="IGOR Lopez Orbe" userId="ec57996b-2ae4-4e7e-b3b5-41577a83a4a5" providerId="ADAL" clId="{A083E977-882E-462D-8122-B9E3AAD5933C}" dt="2023-10-03T14:14:45.017" v="775" actId="47"/>
          <pc:sldLayoutMkLst>
            <pc:docMk/>
            <pc:sldMasterMk cId="1522954573" sldId="2147483648"/>
            <pc:sldLayoutMk cId="13088035" sldId="2147483690"/>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1745747913" sldId="2147483692"/>
          </pc:sldLayoutMkLst>
        </pc:sldLayoutChg>
      </pc:sldMasterChg>
    </pc:docChg>
  </pc:docChgLst>
  <pc:docChgLst>
    <pc:chgData name="IGOR Lopez Orbe" userId="ec57996b-2ae4-4e7e-b3b5-41577a83a4a5" providerId="ADAL" clId="{B6A46346-7582-482D-A7AF-99955F9C36C1}"/>
    <pc:docChg chg="undo custSel addSld delSld modSld sldOrd">
      <pc:chgData name="IGOR Lopez Orbe" userId="ec57996b-2ae4-4e7e-b3b5-41577a83a4a5" providerId="ADAL" clId="{B6A46346-7582-482D-A7AF-99955F9C36C1}" dt="2023-08-31T10:40:20.962" v="2124" actId="20577"/>
      <pc:docMkLst>
        <pc:docMk/>
      </pc:docMkLst>
      <pc:sldChg chg="del">
        <pc:chgData name="IGOR Lopez Orbe" userId="ec57996b-2ae4-4e7e-b3b5-41577a83a4a5" providerId="ADAL" clId="{B6A46346-7582-482D-A7AF-99955F9C36C1}" dt="2023-08-30T12:25:02.077" v="0" actId="47"/>
        <pc:sldMkLst>
          <pc:docMk/>
          <pc:sldMk cId="3851928864" sldId="258"/>
        </pc:sldMkLst>
      </pc:sldChg>
      <pc:sldChg chg="del">
        <pc:chgData name="IGOR Lopez Orbe" userId="ec57996b-2ae4-4e7e-b3b5-41577a83a4a5" providerId="ADAL" clId="{B6A46346-7582-482D-A7AF-99955F9C36C1}" dt="2023-08-30T12:28:22.074" v="22" actId="47"/>
        <pc:sldMkLst>
          <pc:docMk/>
          <pc:sldMk cId="50766453" sldId="262"/>
        </pc:sldMkLst>
      </pc:sldChg>
      <pc:sldChg chg="modSp mod">
        <pc:chgData name="IGOR Lopez Orbe" userId="ec57996b-2ae4-4e7e-b3b5-41577a83a4a5" providerId="ADAL" clId="{B6A46346-7582-482D-A7AF-99955F9C36C1}" dt="2023-08-30T12:44:22.785" v="486" actId="20577"/>
        <pc:sldMkLst>
          <pc:docMk/>
          <pc:sldMk cId="1082845237" sldId="264"/>
        </pc:sldMkLst>
        <pc:spChg chg="mod">
          <ac:chgData name="IGOR Lopez Orbe" userId="ec57996b-2ae4-4e7e-b3b5-41577a83a4a5" providerId="ADAL" clId="{B6A46346-7582-482D-A7AF-99955F9C36C1}" dt="2023-08-30T12:26:14.797" v="11" actId="14100"/>
          <ac:spMkLst>
            <pc:docMk/>
            <pc:sldMk cId="1082845237" sldId="264"/>
            <ac:spMk id="2" creationId="{00000000-0000-0000-0000-000000000000}"/>
          </ac:spMkLst>
        </pc:spChg>
        <pc:spChg chg="mod">
          <ac:chgData name="IGOR Lopez Orbe" userId="ec57996b-2ae4-4e7e-b3b5-41577a83a4a5" providerId="ADAL" clId="{B6A46346-7582-482D-A7AF-99955F9C36C1}" dt="2023-08-30T12:44:22.785" v="486" actId="20577"/>
          <ac:spMkLst>
            <pc:docMk/>
            <pc:sldMk cId="1082845237" sldId="264"/>
            <ac:spMk id="3" creationId="{00000000-0000-0000-0000-000000000000}"/>
          </ac:spMkLst>
        </pc:spChg>
      </pc:sldChg>
      <pc:sldChg chg="del">
        <pc:chgData name="IGOR Lopez Orbe" userId="ec57996b-2ae4-4e7e-b3b5-41577a83a4a5" providerId="ADAL" clId="{B6A46346-7582-482D-A7AF-99955F9C36C1}" dt="2023-08-30T12:28:15.676" v="18" actId="47"/>
        <pc:sldMkLst>
          <pc:docMk/>
          <pc:sldMk cId="3631866014" sldId="265"/>
        </pc:sldMkLst>
      </pc:sldChg>
      <pc:sldChg chg="del">
        <pc:chgData name="IGOR Lopez Orbe" userId="ec57996b-2ae4-4e7e-b3b5-41577a83a4a5" providerId="ADAL" clId="{B6A46346-7582-482D-A7AF-99955F9C36C1}" dt="2023-08-30T12:28:16.665" v="19" actId="47"/>
        <pc:sldMkLst>
          <pc:docMk/>
          <pc:sldMk cId="2448600014" sldId="266"/>
        </pc:sldMkLst>
      </pc:sldChg>
      <pc:sldChg chg="addSp delSp modSp mod ord">
        <pc:chgData name="IGOR Lopez Orbe" userId="ec57996b-2ae4-4e7e-b3b5-41577a83a4a5" providerId="ADAL" clId="{B6A46346-7582-482D-A7AF-99955F9C36C1}" dt="2023-08-30T12:30:27.449" v="170" actId="20577"/>
        <pc:sldMkLst>
          <pc:docMk/>
          <pc:sldMk cId="4168345749" sldId="267"/>
        </pc:sldMkLst>
        <pc:spChg chg="del mod">
          <ac:chgData name="IGOR Lopez Orbe" userId="ec57996b-2ae4-4e7e-b3b5-41577a83a4a5" providerId="ADAL" clId="{B6A46346-7582-482D-A7AF-99955F9C36C1}" dt="2023-08-30T12:28:46.867" v="26" actId="478"/>
          <ac:spMkLst>
            <pc:docMk/>
            <pc:sldMk cId="4168345749" sldId="267"/>
            <ac:spMk id="3" creationId="{00000000-0000-0000-0000-000000000000}"/>
          </ac:spMkLst>
        </pc:spChg>
        <pc:spChg chg="mod">
          <ac:chgData name="IGOR Lopez Orbe" userId="ec57996b-2ae4-4e7e-b3b5-41577a83a4a5" providerId="ADAL" clId="{B6A46346-7582-482D-A7AF-99955F9C36C1}" dt="2023-08-30T12:30:27.449" v="170" actId="20577"/>
          <ac:spMkLst>
            <pc:docMk/>
            <pc:sldMk cId="4168345749" sldId="267"/>
            <ac:spMk id="4" creationId="{00000000-0000-0000-0000-000000000000}"/>
          </ac:spMkLst>
        </pc:spChg>
        <pc:spChg chg="del">
          <ac:chgData name="IGOR Lopez Orbe" userId="ec57996b-2ae4-4e7e-b3b5-41577a83a4a5" providerId="ADAL" clId="{B6A46346-7582-482D-A7AF-99955F9C36C1}" dt="2023-08-30T12:28:34.448" v="23" actId="478"/>
          <ac:spMkLst>
            <pc:docMk/>
            <pc:sldMk cId="4168345749" sldId="267"/>
            <ac:spMk id="5" creationId="{00000000-0000-0000-0000-000000000000}"/>
          </ac:spMkLst>
        </pc:spChg>
        <pc:spChg chg="del">
          <ac:chgData name="IGOR Lopez Orbe" userId="ec57996b-2ae4-4e7e-b3b5-41577a83a4a5" providerId="ADAL" clId="{B6A46346-7582-482D-A7AF-99955F9C36C1}" dt="2023-08-30T12:28:41.164" v="25" actId="478"/>
          <ac:spMkLst>
            <pc:docMk/>
            <pc:sldMk cId="4168345749" sldId="267"/>
            <ac:spMk id="6" creationId="{00000000-0000-0000-0000-000000000000}"/>
          </ac:spMkLst>
        </pc:spChg>
        <pc:spChg chg="add del mod">
          <ac:chgData name="IGOR Lopez Orbe" userId="ec57996b-2ae4-4e7e-b3b5-41577a83a4a5" providerId="ADAL" clId="{B6A46346-7582-482D-A7AF-99955F9C36C1}" dt="2023-08-30T12:28:38.519" v="24" actId="478"/>
          <ac:spMkLst>
            <pc:docMk/>
            <pc:sldMk cId="4168345749" sldId="267"/>
            <ac:spMk id="9" creationId="{ED04222A-3DCD-401A-09E7-C15194B0FBC8}"/>
          </ac:spMkLst>
        </pc:spChg>
        <pc:spChg chg="add del mod">
          <ac:chgData name="IGOR Lopez Orbe" userId="ec57996b-2ae4-4e7e-b3b5-41577a83a4a5" providerId="ADAL" clId="{B6A46346-7582-482D-A7AF-99955F9C36C1}" dt="2023-08-30T12:29:18.175" v="66" actId="478"/>
          <ac:spMkLst>
            <pc:docMk/>
            <pc:sldMk cId="4168345749" sldId="267"/>
            <ac:spMk id="11" creationId="{ADB07463-4CFB-AD6A-92C8-C6CAA4EDAF07}"/>
          </ac:spMkLst>
        </pc:spChg>
        <pc:spChg chg="add del mod">
          <ac:chgData name="IGOR Lopez Orbe" userId="ec57996b-2ae4-4e7e-b3b5-41577a83a4a5" providerId="ADAL" clId="{B6A46346-7582-482D-A7AF-99955F9C36C1}" dt="2023-08-30T12:28:49.602" v="28" actId="478"/>
          <ac:spMkLst>
            <pc:docMk/>
            <pc:sldMk cId="4168345749" sldId="267"/>
            <ac:spMk id="13" creationId="{1CD9ED39-7EF0-1767-7D60-CC9B52FAE799}"/>
          </ac:spMkLst>
        </pc:spChg>
      </pc:sldChg>
      <pc:sldChg chg="del">
        <pc:chgData name="IGOR Lopez Orbe" userId="ec57996b-2ae4-4e7e-b3b5-41577a83a4a5" providerId="ADAL" clId="{B6A46346-7582-482D-A7AF-99955F9C36C1}" dt="2023-08-30T12:51:53.226" v="629" actId="47"/>
        <pc:sldMkLst>
          <pc:docMk/>
          <pc:sldMk cId="3499586946" sldId="268"/>
        </pc:sldMkLst>
      </pc:sldChg>
      <pc:sldChg chg="del">
        <pc:chgData name="IGOR Lopez Orbe" userId="ec57996b-2ae4-4e7e-b3b5-41577a83a4a5" providerId="ADAL" clId="{B6A46346-7582-482D-A7AF-99955F9C36C1}" dt="2023-08-30T12:51:53.226" v="629" actId="47"/>
        <pc:sldMkLst>
          <pc:docMk/>
          <pc:sldMk cId="676704086" sldId="269"/>
        </pc:sldMkLst>
      </pc:sldChg>
      <pc:sldChg chg="del">
        <pc:chgData name="IGOR Lopez Orbe" userId="ec57996b-2ae4-4e7e-b3b5-41577a83a4a5" providerId="ADAL" clId="{B6A46346-7582-482D-A7AF-99955F9C36C1}" dt="2023-08-30T12:51:53.226" v="629" actId="47"/>
        <pc:sldMkLst>
          <pc:docMk/>
          <pc:sldMk cId="2818454519" sldId="270"/>
        </pc:sldMkLst>
      </pc:sldChg>
      <pc:sldChg chg="del">
        <pc:chgData name="IGOR Lopez Orbe" userId="ec57996b-2ae4-4e7e-b3b5-41577a83a4a5" providerId="ADAL" clId="{B6A46346-7582-482D-A7AF-99955F9C36C1}" dt="2023-08-30T12:51:53.226" v="629" actId="47"/>
        <pc:sldMkLst>
          <pc:docMk/>
          <pc:sldMk cId="211521" sldId="271"/>
        </pc:sldMkLst>
      </pc:sldChg>
      <pc:sldChg chg="del">
        <pc:chgData name="IGOR Lopez Orbe" userId="ec57996b-2ae4-4e7e-b3b5-41577a83a4a5" providerId="ADAL" clId="{B6A46346-7582-482D-A7AF-99955F9C36C1}" dt="2023-08-30T12:51:53.226" v="629" actId="47"/>
        <pc:sldMkLst>
          <pc:docMk/>
          <pc:sldMk cId="1181988036" sldId="272"/>
        </pc:sldMkLst>
      </pc:sldChg>
      <pc:sldChg chg="del">
        <pc:chgData name="IGOR Lopez Orbe" userId="ec57996b-2ae4-4e7e-b3b5-41577a83a4a5" providerId="ADAL" clId="{B6A46346-7582-482D-A7AF-99955F9C36C1}" dt="2023-08-30T12:51:53.226" v="629" actId="47"/>
        <pc:sldMkLst>
          <pc:docMk/>
          <pc:sldMk cId="4195680127" sldId="273"/>
        </pc:sldMkLst>
      </pc:sldChg>
      <pc:sldChg chg="del">
        <pc:chgData name="IGOR Lopez Orbe" userId="ec57996b-2ae4-4e7e-b3b5-41577a83a4a5" providerId="ADAL" clId="{B6A46346-7582-482D-A7AF-99955F9C36C1}" dt="2023-08-30T12:51:53.226" v="629" actId="47"/>
        <pc:sldMkLst>
          <pc:docMk/>
          <pc:sldMk cId="4101936015" sldId="274"/>
        </pc:sldMkLst>
      </pc:sldChg>
      <pc:sldChg chg="del">
        <pc:chgData name="IGOR Lopez Orbe" userId="ec57996b-2ae4-4e7e-b3b5-41577a83a4a5" providerId="ADAL" clId="{B6A46346-7582-482D-A7AF-99955F9C36C1}" dt="2023-08-30T12:51:53.226" v="629" actId="47"/>
        <pc:sldMkLst>
          <pc:docMk/>
          <pc:sldMk cId="853809815" sldId="275"/>
        </pc:sldMkLst>
      </pc:sldChg>
      <pc:sldChg chg="del">
        <pc:chgData name="IGOR Lopez Orbe" userId="ec57996b-2ae4-4e7e-b3b5-41577a83a4a5" providerId="ADAL" clId="{B6A46346-7582-482D-A7AF-99955F9C36C1}" dt="2023-08-30T12:51:53.226" v="629" actId="47"/>
        <pc:sldMkLst>
          <pc:docMk/>
          <pc:sldMk cId="4077923361" sldId="276"/>
        </pc:sldMkLst>
      </pc:sldChg>
      <pc:sldChg chg="del">
        <pc:chgData name="IGOR Lopez Orbe" userId="ec57996b-2ae4-4e7e-b3b5-41577a83a4a5" providerId="ADAL" clId="{B6A46346-7582-482D-A7AF-99955F9C36C1}" dt="2023-08-30T12:51:53.226" v="629" actId="47"/>
        <pc:sldMkLst>
          <pc:docMk/>
          <pc:sldMk cId="187485766" sldId="277"/>
        </pc:sldMkLst>
      </pc:sldChg>
      <pc:sldChg chg="del">
        <pc:chgData name="IGOR Lopez Orbe" userId="ec57996b-2ae4-4e7e-b3b5-41577a83a4a5" providerId="ADAL" clId="{B6A46346-7582-482D-A7AF-99955F9C36C1}" dt="2023-08-30T12:51:53.226" v="629" actId="47"/>
        <pc:sldMkLst>
          <pc:docMk/>
          <pc:sldMk cId="3557974200" sldId="278"/>
        </pc:sldMkLst>
      </pc:sldChg>
      <pc:sldChg chg="del">
        <pc:chgData name="IGOR Lopez Orbe" userId="ec57996b-2ae4-4e7e-b3b5-41577a83a4a5" providerId="ADAL" clId="{B6A46346-7582-482D-A7AF-99955F9C36C1}" dt="2023-08-30T12:51:53.226" v="629" actId="47"/>
        <pc:sldMkLst>
          <pc:docMk/>
          <pc:sldMk cId="1021948820" sldId="279"/>
        </pc:sldMkLst>
      </pc:sldChg>
      <pc:sldChg chg="del">
        <pc:chgData name="IGOR Lopez Orbe" userId="ec57996b-2ae4-4e7e-b3b5-41577a83a4a5" providerId="ADAL" clId="{B6A46346-7582-482D-A7AF-99955F9C36C1}" dt="2023-08-30T12:51:53.226" v="629" actId="47"/>
        <pc:sldMkLst>
          <pc:docMk/>
          <pc:sldMk cId="1003329074" sldId="280"/>
        </pc:sldMkLst>
      </pc:sldChg>
      <pc:sldChg chg="del">
        <pc:chgData name="IGOR Lopez Orbe" userId="ec57996b-2ae4-4e7e-b3b5-41577a83a4a5" providerId="ADAL" clId="{B6A46346-7582-482D-A7AF-99955F9C36C1}" dt="2023-08-30T12:51:53.226" v="629" actId="47"/>
        <pc:sldMkLst>
          <pc:docMk/>
          <pc:sldMk cId="2218910750" sldId="281"/>
        </pc:sldMkLst>
      </pc:sldChg>
      <pc:sldChg chg="del">
        <pc:chgData name="IGOR Lopez Orbe" userId="ec57996b-2ae4-4e7e-b3b5-41577a83a4a5" providerId="ADAL" clId="{B6A46346-7582-482D-A7AF-99955F9C36C1}" dt="2023-08-30T12:51:53.226" v="629" actId="47"/>
        <pc:sldMkLst>
          <pc:docMk/>
          <pc:sldMk cId="2793731140" sldId="282"/>
        </pc:sldMkLst>
      </pc:sldChg>
      <pc:sldChg chg="del">
        <pc:chgData name="IGOR Lopez Orbe" userId="ec57996b-2ae4-4e7e-b3b5-41577a83a4a5" providerId="ADAL" clId="{B6A46346-7582-482D-A7AF-99955F9C36C1}" dt="2023-08-30T12:51:53.226" v="629" actId="47"/>
        <pc:sldMkLst>
          <pc:docMk/>
          <pc:sldMk cId="4034811018" sldId="283"/>
        </pc:sldMkLst>
      </pc:sldChg>
      <pc:sldChg chg="del">
        <pc:chgData name="IGOR Lopez Orbe" userId="ec57996b-2ae4-4e7e-b3b5-41577a83a4a5" providerId="ADAL" clId="{B6A46346-7582-482D-A7AF-99955F9C36C1}" dt="2023-08-30T12:51:53.226" v="629" actId="47"/>
        <pc:sldMkLst>
          <pc:docMk/>
          <pc:sldMk cId="1351227183" sldId="284"/>
        </pc:sldMkLst>
      </pc:sldChg>
      <pc:sldChg chg="del">
        <pc:chgData name="IGOR Lopez Orbe" userId="ec57996b-2ae4-4e7e-b3b5-41577a83a4a5" providerId="ADAL" clId="{B6A46346-7582-482D-A7AF-99955F9C36C1}" dt="2023-08-30T12:51:53.226" v="629" actId="47"/>
        <pc:sldMkLst>
          <pc:docMk/>
          <pc:sldMk cId="1442707167" sldId="285"/>
        </pc:sldMkLst>
      </pc:sldChg>
      <pc:sldChg chg="del">
        <pc:chgData name="IGOR Lopez Orbe" userId="ec57996b-2ae4-4e7e-b3b5-41577a83a4a5" providerId="ADAL" clId="{B6A46346-7582-482D-A7AF-99955F9C36C1}" dt="2023-08-30T12:51:53.226" v="629" actId="47"/>
        <pc:sldMkLst>
          <pc:docMk/>
          <pc:sldMk cId="573154165" sldId="286"/>
        </pc:sldMkLst>
      </pc:sldChg>
      <pc:sldChg chg="del">
        <pc:chgData name="IGOR Lopez Orbe" userId="ec57996b-2ae4-4e7e-b3b5-41577a83a4a5" providerId="ADAL" clId="{B6A46346-7582-482D-A7AF-99955F9C36C1}" dt="2023-08-30T12:51:53.226" v="629" actId="47"/>
        <pc:sldMkLst>
          <pc:docMk/>
          <pc:sldMk cId="2506151159" sldId="288"/>
        </pc:sldMkLst>
      </pc:sldChg>
      <pc:sldChg chg="del">
        <pc:chgData name="IGOR Lopez Orbe" userId="ec57996b-2ae4-4e7e-b3b5-41577a83a4a5" providerId="ADAL" clId="{B6A46346-7582-482D-A7AF-99955F9C36C1}" dt="2023-08-30T12:51:53.226" v="629" actId="47"/>
        <pc:sldMkLst>
          <pc:docMk/>
          <pc:sldMk cId="183944213" sldId="289"/>
        </pc:sldMkLst>
      </pc:sldChg>
      <pc:sldChg chg="del">
        <pc:chgData name="IGOR Lopez Orbe" userId="ec57996b-2ae4-4e7e-b3b5-41577a83a4a5" providerId="ADAL" clId="{B6A46346-7582-482D-A7AF-99955F9C36C1}" dt="2023-08-30T12:51:53.226" v="629" actId="47"/>
        <pc:sldMkLst>
          <pc:docMk/>
          <pc:sldMk cId="2515376372" sldId="290"/>
        </pc:sldMkLst>
      </pc:sldChg>
      <pc:sldChg chg="addSp delSp modSp new del mod modClrScheme chgLayout">
        <pc:chgData name="IGOR Lopez Orbe" userId="ec57996b-2ae4-4e7e-b3b5-41577a83a4a5" providerId="ADAL" clId="{B6A46346-7582-482D-A7AF-99955F9C36C1}" dt="2023-08-30T12:51:53.226" v="629" actId="47"/>
        <pc:sldMkLst>
          <pc:docMk/>
          <pc:sldMk cId="1131827407" sldId="292"/>
        </pc:sldMkLst>
        <pc:spChg chg="del mod ord">
          <ac:chgData name="IGOR Lopez Orbe" userId="ec57996b-2ae4-4e7e-b3b5-41577a83a4a5" providerId="ADAL" clId="{B6A46346-7582-482D-A7AF-99955F9C36C1}" dt="2023-08-30T12:27:52.501" v="14" actId="700"/>
          <ac:spMkLst>
            <pc:docMk/>
            <pc:sldMk cId="1131827407" sldId="292"/>
            <ac:spMk id="2" creationId="{3B196702-6BE8-4FB2-30B4-45588A65D8F0}"/>
          </ac:spMkLst>
        </pc:spChg>
        <pc:spChg chg="del mod ord">
          <ac:chgData name="IGOR Lopez Orbe" userId="ec57996b-2ae4-4e7e-b3b5-41577a83a4a5" providerId="ADAL" clId="{B6A46346-7582-482D-A7AF-99955F9C36C1}" dt="2023-08-30T12:27:52.501" v="14" actId="700"/>
          <ac:spMkLst>
            <pc:docMk/>
            <pc:sldMk cId="1131827407" sldId="292"/>
            <ac:spMk id="3" creationId="{E7790402-70FA-71A7-4761-2448BC0298B4}"/>
          </ac:spMkLst>
        </pc:spChg>
        <pc:spChg chg="add del mod ord">
          <ac:chgData name="IGOR Lopez Orbe" userId="ec57996b-2ae4-4e7e-b3b5-41577a83a4a5" providerId="ADAL" clId="{B6A46346-7582-482D-A7AF-99955F9C36C1}" dt="2023-08-30T12:31:19.801" v="223" actId="700"/>
          <ac:spMkLst>
            <pc:docMk/>
            <pc:sldMk cId="1131827407" sldId="292"/>
            <ac:spMk id="4" creationId="{B76C9C6D-051F-2721-9F5B-84499254336F}"/>
          </ac:spMkLst>
        </pc:spChg>
        <pc:spChg chg="add del mod ord">
          <ac:chgData name="IGOR Lopez Orbe" userId="ec57996b-2ae4-4e7e-b3b5-41577a83a4a5" providerId="ADAL" clId="{B6A46346-7582-482D-A7AF-99955F9C36C1}" dt="2023-08-30T12:31:03.692" v="220" actId="478"/>
          <ac:spMkLst>
            <pc:docMk/>
            <pc:sldMk cId="1131827407" sldId="292"/>
            <ac:spMk id="5" creationId="{EB2C77EE-427E-E7A3-6BF3-0E6A812D6CB1}"/>
          </ac:spMkLst>
        </pc:spChg>
        <pc:spChg chg="add mod ord">
          <ac:chgData name="IGOR Lopez Orbe" userId="ec57996b-2ae4-4e7e-b3b5-41577a83a4a5" providerId="ADAL" clId="{B6A46346-7582-482D-A7AF-99955F9C36C1}" dt="2023-08-30T12:31:19.801" v="223" actId="700"/>
          <ac:spMkLst>
            <pc:docMk/>
            <pc:sldMk cId="1131827407" sldId="292"/>
            <ac:spMk id="6" creationId="{D8A59AE3-6D96-BD88-0D8B-2E9D87E7D367}"/>
          </ac:spMkLst>
        </pc:spChg>
        <pc:spChg chg="add del mod ord">
          <ac:chgData name="IGOR Lopez Orbe" userId="ec57996b-2ae4-4e7e-b3b5-41577a83a4a5" providerId="ADAL" clId="{B6A46346-7582-482D-A7AF-99955F9C36C1}" dt="2023-08-30T12:31:19.801" v="223" actId="700"/>
          <ac:spMkLst>
            <pc:docMk/>
            <pc:sldMk cId="1131827407" sldId="292"/>
            <ac:spMk id="7" creationId="{DC04A601-E118-D995-42F2-0E05A3249DF7}"/>
          </ac:spMkLst>
        </pc:spChg>
        <pc:spChg chg="add del mod ord">
          <ac:chgData name="IGOR Lopez Orbe" userId="ec57996b-2ae4-4e7e-b3b5-41577a83a4a5" providerId="ADAL" clId="{B6A46346-7582-482D-A7AF-99955F9C36C1}" dt="2023-08-30T12:31:19.801" v="223" actId="700"/>
          <ac:spMkLst>
            <pc:docMk/>
            <pc:sldMk cId="1131827407" sldId="292"/>
            <ac:spMk id="8" creationId="{4A3B0706-8B15-2120-DDB7-2D2615F0D0DE}"/>
          </ac:spMkLst>
        </pc:spChg>
        <pc:spChg chg="add del mod ord">
          <ac:chgData name="IGOR Lopez Orbe" userId="ec57996b-2ae4-4e7e-b3b5-41577a83a4a5" providerId="ADAL" clId="{B6A46346-7582-482D-A7AF-99955F9C36C1}" dt="2023-08-30T12:31:19.801" v="223" actId="700"/>
          <ac:spMkLst>
            <pc:docMk/>
            <pc:sldMk cId="1131827407" sldId="292"/>
            <ac:spMk id="9" creationId="{8CA2ABB4-3DE7-7716-CE2C-872BDEE845A0}"/>
          </ac:spMkLst>
        </pc:spChg>
      </pc:sldChg>
      <pc:sldChg chg="addSp delSp modSp new mod">
        <pc:chgData name="IGOR Lopez Orbe" userId="ec57996b-2ae4-4e7e-b3b5-41577a83a4a5" providerId="ADAL" clId="{B6A46346-7582-482D-A7AF-99955F9C36C1}" dt="2023-08-30T12:44:59.778" v="499" actId="20577"/>
        <pc:sldMkLst>
          <pc:docMk/>
          <pc:sldMk cId="2176433010" sldId="293"/>
        </pc:sldMkLst>
        <pc:spChg chg="add del mod">
          <ac:chgData name="IGOR Lopez Orbe" userId="ec57996b-2ae4-4e7e-b3b5-41577a83a4a5" providerId="ADAL" clId="{B6A46346-7582-482D-A7AF-99955F9C36C1}" dt="2023-08-30T12:32:23.100" v="261" actId="478"/>
          <ac:spMkLst>
            <pc:docMk/>
            <pc:sldMk cId="2176433010" sldId="293"/>
            <ac:spMk id="3" creationId="{08085024-3B8C-1986-A489-09373013A966}"/>
          </ac:spMkLst>
        </pc:spChg>
        <pc:spChg chg="mod">
          <ac:chgData name="IGOR Lopez Orbe" userId="ec57996b-2ae4-4e7e-b3b5-41577a83a4a5" providerId="ADAL" clId="{B6A46346-7582-482D-A7AF-99955F9C36C1}" dt="2023-08-30T12:44:59.778" v="499" actId="20577"/>
          <ac:spMkLst>
            <pc:docMk/>
            <pc:sldMk cId="2176433010" sldId="293"/>
            <ac:spMk id="4" creationId="{AEB663B1-0DB7-C198-122D-C65E7CBBE4F6}"/>
          </ac:spMkLst>
        </pc:spChg>
        <pc:spChg chg="add del">
          <ac:chgData name="IGOR Lopez Orbe" userId="ec57996b-2ae4-4e7e-b3b5-41577a83a4a5" providerId="ADAL" clId="{B6A46346-7582-482D-A7AF-99955F9C36C1}" dt="2023-08-30T12:32:23.100" v="261" actId="478"/>
          <ac:spMkLst>
            <pc:docMk/>
            <pc:sldMk cId="2176433010" sldId="293"/>
            <ac:spMk id="5" creationId="{911DD153-2EF5-AC30-7B90-C50EC53C0B0B}"/>
          </ac:spMkLst>
        </pc:spChg>
        <pc:spChg chg="add del">
          <ac:chgData name="IGOR Lopez Orbe" userId="ec57996b-2ae4-4e7e-b3b5-41577a83a4a5" providerId="ADAL" clId="{B6A46346-7582-482D-A7AF-99955F9C36C1}" dt="2023-08-30T12:32:23.100" v="261" actId="478"/>
          <ac:spMkLst>
            <pc:docMk/>
            <pc:sldMk cId="2176433010" sldId="293"/>
            <ac:spMk id="6" creationId="{D6D027B0-8C5B-8B91-5DD2-2C30556540F9}"/>
          </ac:spMkLst>
        </pc:spChg>
        <pc:spChg chg="add del">
          <ac:chgData name="IGOR Lopez Orbe" userId="ec57996b-2ae4-4e7e-b3b5-41577a83a4a5" providerId="ADAL" clId="{B6A46346-7582-482D-A7AF-99955F9C36C1}" dt="2023-08-30T12:32:23.100" v="261" actId="478"/>
          <ac:spMkLst>
            <pc:docMk/>
            <pc:sldMk cId="2176433010" sldId="293"/>
            <ac:spMk id="7" creationId="{3F47D279-C3A0-8EF0-2117-9683CDD7E3FC}"/>
          </ac:spMkLst>
        </pc:spChg>
        <pc:spChg chg="add del">
          <ac:chgData name="IGOR Lopez Orbe" userId="ec57996b-2ae4-4e7e-b3b5-41577a83a4a5" providerId="ADAL" clId="{B6A46346-7582-482D-A7AF-99955F9C36C1}" dt="2023-08-30T12:32:23.100" v="261" actId="478"/>
          <ac:spMkLst>
            <pc:docMk/>
            <pc:sldMk cId="2176433010" sldId="293"/>
            <ac:spMk id="8" creationId="{FC7E5933-B78E-01F4-24A8-D720DE1CBCB3}"/>
          </ac:spMkLst>
        </pc:spChg>
        <pc:spChg chg="mod">
          <ac:chgData name="IGOR Lopez Orbe" userId="ec57996b-2ae4-4e7e-b3b5-41577a83a4a5" providerId="ADAL" clId="{B6A46346-7582-482D-A7AF-99955F9C36C1}" dt="2023-08-30T12:44:03.046" v="455"/>
          <ac:spMkLst>
            <pc:docMk/>
            <pc:sldMk cId="2176433010" sldId="293"/>
            <ac:spMk id="9" creationId="{DADAA1FA-D6EF-CBF8-BC2B-EB9A427EBBCB}"/>
          </ac:spMkLst>
        </pc:spChg>
        <pc:spChg chg="mod">
          <ac:chgData name="IGOR Lopez Orbe" userId="ec57996b-2ae4-4e7e-b3b5-41577a83a4a5" providerId="ADAL" clId="{B6A46346-7582-482D-A7AF-99955F9C36C1}" dt="2023-08-30T12:32:29.902" v="276" actId="20577"/>
          <ac:spMkLst>
            <pc:docMk/>
            <pc:sldMk cId="2176433010" sldId="293"/>
            <ac:spMk id="10" creationId="{BBE394BE-4B48-F93E-EF20-BD4069060F8D}"/>
          </ac:spMkLst>
        </pc:spChg>
        <pc:spChg chg="add del mod">
          <ac:chgData name="IGOR Lopez Orbe" userId="ec57996b-2ae4-4e7e-b3b5-41577a83a4a5" providerId="ADAL" clId="{B6A46346-7582-482D-A7AF-99955F9C36C1}" dt="2023-08-30T12:33:41.125" v="288"/>
          <ac:spMkLst>
            <pc:docMk/>
            <pc:sldMk cId="2176433010" sldId="293"/>
            <ac:spMk id="12" creationId="{986A4620-BE21-2C8A-FFBF-A0F934ECBF63}"/>
          </ac:spMkLst>
        </pc:spChg>
        <pc:spChg chg="add del mod">
          <ac:chgData name="IGOR Lopez Orbe" userId="ec57996b-2ae4-4e7e-b3b5-41577a83a4a5" providerId="ADAL" clId="{B6A46346-7582-482D-A7AF-99955F9C36C1}" dt="2023-08-30T12:33:41.125" v="288"/>
          <ac:spMkLst>
            <pc:docMk/>
            <pc:sldMk cId="2176433010" sldId="293"/>
            <ac:spMk id="13" creationId="{87B832EE-27EF-396F-2EBD-704704F7C6A0}"/>
          </ac:spMkLst>
        </pc:spChg>
        <pc:spChg chg="add del mod">
          <ac:chgData name="IGOR Lopez Orbe" userId="ec57996b-2ae4-4e7e-b3b5-41577a83a4a5" providerId="ADAL" clId="{B6A46346-7582-482D-A7AF-99955F9C36C1}" dt="2023-08-30T12:33:41.125" v="288"/>
          <ac:spMkLst>
            <pc:docMk/>
            <pc:sldMk cId="2176433010" sldId="293"/>
            <ac:spMk id="14" creationId="{537EC354-4D34-36BA-57AE-245BFD1912BF}"/>
          </ac:spMkLst>
        </pc:spChg>
        <pc:spChg chg="add del mod">
          <ac:chgData name="IGOR Lopez Orbe" userId="ec57996b-2ae4-4e7e-b3b5-41577a83a4a5" providerId="ADAL" clId="{B6A46346-7582-482D-A7AF-99955F9C36C1}" dt="2023-08-30T12:33:41.125" v="288"/>
          <ac:spMkLst>
            <pc:docMk/>
            <pc:sldMk cId="2176433010" sldId="293"/>
            <ac:spMk id="15" creationId="{AFB56D83-F2C0-FEF8-1F7A-700F56923280}"/>
          </ac:spMkLst>
        </pc:spChg>
        <pc:spChg chg="add del mod">
          <ac:chgData name="IGOR Lopez Orbe" userId="ec57996b-2ae4-4e7e-b3b5-41577a83a4a5" providerId="ADAL" clId="{B6A46346-7582-482D-A7AF-99955F9C36C1}" dt="2023-08-30T12:33:41.125" v="288"/>
          <ac:spMkLst>
            <pc:docMk/>
            <pc:sldMk cId="2176433010" sldId="293"/>
            <ac:spMk id="16" creationId="{0BA5F6B4-991A-F6EE-6AD8-E9503FF4CF6D}"/>
          </ac:spMkLst>
        </pc:spChg>
        <pc:spChg chg="add del mod">
          <ac:chgData name="IGOR Lopez Orbe" userId="ec57996b-2ae4-4e7e-b3b5-41577a83a4a5" providerId="ADAL" clId="{B6A46346-7582-482D-A7AF-99955F9C36C1}" dt="2023-08-30T12:33:41.125" v="288"/>
          <ac:spMkLst>
            <pc:docMk/>
            <pc:sldMk cId="2176433010" sldId="293"/>
            <ac:spMk id="17" creationId="{A3285399-60C7-9C71-A97E-C019CA5DA6C8}"/>
          </ac:spMkLst>
        </pc:spChg>
        <pc:spChg chg="add del mod">
          <ac:chgData name="IGOR Lopez Orbe" userId="ec57996b-2ae4-4e7e-b3b5-41577a83a4a5" providerId="ADAL" clId="{B6A46346-7582-482D-A7AF-99955F9C36C1}" dt="2023-08-30T12:33:41.125" v="288"/>
          <ac:spMkLst>
            <pc:docMk/>
            <pc:sldMk cId="2176433010" sldId="293"/>
            <ac:spMk id="18" creationId="{AB46A97F-3CAB-12DD-9C57-49EAEB35A2DA}"/>
          </ac:spMkLst>
        </pc:spChg>
        <pc:spChg chg="add del mod">
          <ac:chgData name="IGOR Lopez Orbe" userId="ec57996b-2ae4-4e7e-b3b5-41577a83a4a5" providerId="ADAL" clId="{B6A46346-7582-482D-A7AF-99955F9C36C1}" dt="2023-08-30T12:33:41.125" v="288"/>
          <ac:spMkLst>
            <pc:docMk/>
            <pc:sldMk cId="2176433010" sldId="293"/>
            <ac:spMk id="19" creationId="{A03F03EE-8E31-A69C-1663-4C2D79620836}"/>
          </ac:spMkLst>
        </pc:spChg>
        <pc:spChg chg="add del mod">
          <ac:chgData name="IGOR Lopez Orbe" userId="ec57996b-2ae4-4e7e-b3b5-41577a83a4a5" providerId="ADAL" clId="{B6A46346-7582-482D-A7AF-99955F9C36C1}" dt="2023-08-30T12:33:41.125" v="288"/>
          <ac:spMkLst>
            <pc:docMk/>
            <pc:sldMk cId="2176433010" sldId="293"/>
            <ac:spMk id="26" creationId="{B04B2F14-83C4-275B-3BFD-7DDC53D6EEC9}"/>
          </ac:spMkLst>
        </pc:spChg>
        <pc:spChg chg="add del mod">
          <ac:chgData name="IGOR Lopez Orbe" userId="ec57996b-2ae4-4e7e-b3b5-41577a83a4a5" providerId="ADAL" clId="{B6A46346-7582-482D-A7AF-99955F9C36C1}" dt="2023-08-30T12:33:41.125" v="288"/>
          <ac:spMkLst>
            <pc:docMk/>
            <pc:sldMk cId="2176433010" sldId="293"/>
            <ac:spMk id="27" creationId="{809DF662-C576-BCB0-40EE-0A98427FCE2F}"/>
          </ac:spMkLst>
        </pc:spChg>
        <pc:spChg chg="add del mod">
          <ac:chgData name="IGOR Lopez Orbe" userId="ec57996b-2ae4-4e7e-b3b5-41577a83a4a5" providerId="ADAL" clId="{B6A46346-7582-482D-A7AF-99955F9C36C1}" dt="2023-08-30T12:33:41.125" v="288"/>
          <ac:spMkLst>
            <pc:docMk/>
            <pc:sldMk cId="2176433010" sldId="293"/>
            <ac:spMk id="28" creationId="{5166813E-508C-EAD9-F413-044A57E5AE9B}"/>
          </ac:spMkLst>
        </pc:spChg>
        <pc:spChg chg="add del mod">
          <ac:chgData name="IGOR Lopez Orbe" userId="ec57996b-2ae4-4e7e-b3b5-41577a83a4a5" providerId="ADAL" clId="{B6A46346-7582-482D-A7AF-99955F9C36C1}" dt="2023-08-30T12:33:41.125" v="288"/>
          <ac:spMkLst>
            <pc:docMk/>
            <pc:sldMk cId="2176433010" sldId="293"/>
            <ac:spMk id="29" creationId="{24C211A4-C65D-CEA7-343A-7B209CB2A6A7}"/>
          </ac:spMkLst>
        </pc:spChg>
        <pc:spChg chg="add del mod">
          <ac:chgData name="IGOR Lopez Orbe" userId="ec57996b-2ae4-4e7e-b3b5-41577a83a4a5" providerId="ADAL" clId="{B6A46346-7582-482D-A7AF-99955F9C36C1}" dt="2023-08-30T12:33:41.125" v="288"/>
          <ac:spMkLst>
            <pc:docMk/>
            <pc:sldMk cId="2176433010" sldId="293"/>
            <ac:spMk id="30" creationId="{2BE83DBD-5CEE-2250-6C84-FDE6D73EB0FE}"/>
          </ac:spMkLst>
        </pc:spChg>
        <pc:spChg chg="add del mod">
          <ac:chgData name="IGOR Lopez Orbe" userId="ec57996b-2ae4-4e7e-b3b5-41577a83a4a5" providerId="ADAL" clId="{B6A46346-7582-482D-A7AF-99955F9C36C1}" dt="2023-08-30T12:33:41.125" v="288"/>
          <ac:spMkLst>
            <pc:docMk/>
            <pc:sldMk cId="2176433010" sldId="293"/>
            <ac:spMk id="31" creationId="{0CFAA4F9-88D5-CFD7-5F01-9FE96CD77BDE}"/>
          </ac:spMkLst>
        </pc:spChg>
        <pc:spChg chg="add del mod">
          <ac:chgData name="IGOR Lopez Orbe" userId="ec57996b-2ae4-4e7e-b3b5-41577a83a4a5" providerId="ADAL" clId="{B6A46346-7582-482D-A7AF-99955F9C36C1}" dt="2023-08-30T12:33:41.125" v="288"/>
          <ac:spMkLst>
            <pc:docMk/>
            <pc:sldMk cId="2176433010" sldId="293"/>
            <ac:spMk id="33" creationId="{7FB5F4D9-63D8-0C7C-85A5-FB89C3D7272D}"/>
          </ac:spMkLst>
        </pc:spChg>
        <pc:spChg chg="add del mod">
          <ac:chgData name="IGOR Lopez Orbe" userId="ec57996b-2ae4-4e7e-b3b5-41577a83a4a5" providerId="ADAL" clId="{B6A46346-7582-482D-A7AF-99955F9C36C1}" dt="2023-08-30T12:33:41.125" v="288"/>
          <ac:spMkLst>
            <pc:docMk/>
            <pc:sldMk cId="2176433010" sldId="293"/>
            <ac:spMk id="34" creationId="{5F75974A-CE38-957A-0F35-FD0F2C4242D3}"/>
          </ac:spMkLst>
        </pc:spChg>
        <pc:spChg chg="add del mod">
          <ac:chgData name="IGOR Lopez Orbe" userId="ec57996b-2ae4-4e7e-b3b5-41577a83a4a5" providerId="ADAL" clId="{B6A46346-7582-482D-A7AF-99955F9C36C1}" dt="2023-08-30T12:33:41.125" v="288"/>
          <ac:spMkLst>
            <pc:docMk/>
            <pc:sldMk cId="2176433010" sldId="293"/>
            <ac:spMk id="35" creationId="{A0297D27-2C56-5335-754A-1327CD23E11E}"/>
          </ac:spMkLst>
        </pc:spChg>
        <pc:spChg chg="add del mod">
          <ac:chgData name="IGOR Lopez Orbe" userId="ec57996b-2ae4-4e7e-b3b5-41577a83a4a5" providerId="ADAL" clId="{B6A46346-7582-482D-A7AF-99955F9C36C1}" dt="2023-08-30T12:33:41.125" v="288"/>
          <ac:spMkLst>
            <pc:docMk/>
            <pc:sldMk cId="2176433010" sldId="293"/>
            <ac:spMk id="36" creationId="{9CE70899-D6E8-8A1B-AA4D-4DC13A2A243E}"/>
          </ac:spMkLst>
        </pc:spChg>
        <pc:spChg chg="add del mod">
          <ac:chgData name="IGOR Lopez Orbe" userId="ec57996b-2ae4-4e7e-b3b5-41577a83a4a5" providerId="ADAL" clId="{B6A46346-7582-482D-A7AF-99955F9C36C1}" dt="2023-08-30T12:33:41.125" v="288"/>
          <ac:spMkLst>
            <pc:docMk/>
            <pc:sldMk cId="2176433010" sldId="293"/>
            <ac:spMk id="37" creationId="{7BB324E0-7995-4D38-48A7-5DDE25E6E099}"/>
          </ac:spMkLst>
        </pc:spChg>
        <pc:spChg chg="add del mod">
          <ac:chgData name="IGOR Lopez Orbe" userId="ec57996b-2ae4-4e7e-b3b5-41577a83a4a5" providerId="ADAL" clId="{B6A46346-7582-482D-A7AF-99955F9C36C1}" dt="2023-08-30T12:33:41.125" v="288"/>
          <ac:spMkLst>
            <pc:docMk/>
            <pc:sldMk cId="2176433010" sldId="293"/>
            <ac:spMk id="41" creationId="{D9D4D8EB-7645-5AEE-63CB-0B0BD489F87D}"/>
          </ac:spMkLst>
        </pc:spChg>
        <pc:spChg chg="add del mod">
          <ac:chgData name="IGOR Lopez Orbe" userId="ec57996b-2ae4-4e7e-b3b5-41577a83a4a5" providerId="ADAL" clId="{B6A46346-7582-482D-A7AF-99955F9C36C1}" dt="2023-08-30T12:33:41.125" v="288"/>
          <ac:spMkLst>
            <pc:docMk/>
            <pc:sldMk cId="2176433010" sldId="293"/>
            <ac:spMk id="42" creationId="{FCE282AC-BD21-DE74-A002-7C7E7265DFC1}"/>
          </ac:spMkLst>
        </pc:spChg>
        <pc:spChg chg="add del mod">
          <ac:chgData name="IGOR Lopez Orbe" userId="ec57996b-2ae4-4e7e-b3b5-41577a83a4a5" providerId="ADAL" clId="{B6A46346-7582-482D-A7AF-99955F9C36C1}" dt="2023-08-30T12:33:41.125" v="288"/>
          <ac:spMkLst>
            <pc:docMk/>
            <pc:sldMk cId="2176433010" sldId="293"/>
            <ac:spMk id="43" creationId="{03135031-545E-11DF-B845-DAD0477FBEA0}"/>
          </ac:spMkLst>
        </pc:spChg>
        <pc:spChg chg="add del mod">
          <ac:chgData name="IGOR Lopez Orbe" userId="ec57996b-2ae4-4e7e-b3b5-41577a83a4a5" providerId="ADAL" clId="{B6A46346-7582-482D-A7AF-99955F9C36C1}" dt="2023-08-30T12:33:41.125" v="288"/>
          <ac:spMkLst>
            <pc:docMk/>
            <pc:sldMk cId="2176433010" sldId="293"/>
            <ac:spMk id="44" creationId="{ED8BD48D-1818-208E-7722-F89FFDEB3F91}"/>
          </ac:spMkLst>
        </pc:spChg>
        <pc:spChg chg="add del mod">
          <ac:chgData name="IGOR Lopez Orbe" userId="ec57996b-2ae4-4e7e-b3b5-41577a83a4a5" providerId="ADAL" clId="{B6A46346-7582-482D-A7AF-99955F9C36C1}" dt="2023-08-30T12:33:41.125" v="288"/>
          <ac:spMkLst>
            <pc:docMk/>
            <pc:sldMk cId="2176433010" sldId="293"/>
            <ac:spMk id="45" creationId="{950FAE71-38D0-B9EC-2BAD-4725409AD606}"/>
          </ac:spMkLst>
        </pc:spChg>
        <pc:spChg chg="add del mod">
          <ac:chgData name="IGOR Lopez Orbe" userId="ec57996b-2ae4-4e7e-b3b5-41577a83a4a5" providerId="ADAL" clId="{B6A46346-7582-482D-A7AF-99955F9C36C1}" dt="2023-08-30T12:33:41.125" v="288"/>
          <ac:spMkLst>
            <pc:docMk/>
            <pc:sldMk cId="2176433010" sldId="293"/>
            <ac:spMk id="46" creationId="{2745F660-96DE-57C6-DD10-C7FF305DF71B}"/>
          </ac:spMkLst>
        </pc:spChg>
        <pc:spChg chg="add del mod">
          <ac:chgData name="IGOR Lopez Orbe" userId="ec57996b-2ae4-4e7e-b3b5-41577a83a4a5" providerId="ADAL" clId="{B6A46346-7582-482D-A7AF-99955F9C36C1}" dt="2023-08-30T12:33:41.125" v="288"/>
          <ac:spMkLst>
            <pc:docMk/>
            <pc:sldMk cId="2176433010" sldId="293"/>
            <ac:spMk id="47" creationId="{FDF4BED2-3CF4-7910-A0AC-76C2066CB4D1}"/>
          </ac:spMkLst>
        </pc:spChg>
        <pc:spChg chg="add del mod">
          <ac:chgData name="IGOR Lopez Orbe" userId="ec57996b-2ae4-4e7e-b3b5-41577a83a4a5" providerId="ADAL" clId="{B6A46346-7582-482D-A7AF-99955F9C36C1}" dt="2023-08-30T12:33:41.125" v="288"/>
          <ac:spMkLst>
            <pc:docMk/>
            <pc:sldMk cId="2176433010" sldId="293"/>
            <ac:spMk id="48" creationId="{8E3C117A-91A5-F262-AC21-1CF6579017D2}"/>
          </ac:spMkLst>
        </pc:spChg>
        <pc:spChg chg="add del mod">
          <ac:chgData name="IGOR Lopez Orbe" userId="ec57996b-2ae4-4e7e-b3b5-41577a83a4a5" providerId="ADAL" clId="{B6A46346-7582-482D-A7AF-99955F9C36C1}" dt="2023-08-30T12:33:41.125" v="288"/>
          <ac:spMkLst>
            <pc:docMk/>
            <pc:sldMk cId="2176433010" sldId="293"/>
            <ac:spMk id="49" creationId="{62E4A4B8-53C5-4F94-1184-D33586C523EE}"/>
          </ac:spMkLst>
        </pc:spChg>
        <pc:spChg chg="add del mod">
          <ac:chgData name="IGOR Lopez Orbe" userId="ec57996b-2ae4-4e7e-b3b5-41577a83a4a5" providerId="ADAL" clId="{B6A46346-7582-482D-A7AF-99955F9C36C1}" dt="2023-08-30T12:33:41.125" v="288"/>
          <ac:spMkLst>
            <pc:docMk/>
            <pc:sldMk cId="2176433010" sldId="293"/>
            <ac:spMk id="50" creationId="{802C28E2-DC15-8156-B70B-6F3EC53D6A23}"/>
          </ac:spMkLst>
        </pc:spChg>
        <pc:spChg chg="add del mod">
          <ac:chgData name="IGOR Lopez Orbe" userId="ec57996b-2ae4-4e7e-b3b5-41577a83a4a5" providerId="ADAL" clId="{B6A46346-7582-482D-A7AF-99955F9C36C1}" dt="2023-08-30T12:33:41.125" v="288"/>
          <ac:spMkLst>
            <pc:docMk/>
            <pc:sldMk cId="2176433010" sldId="293"/>
            <ac:spMk id="51" creationId="{68CB43CE-B78A-090C-EB85-3552B086049A}"/>
          </ac:spMkLst>
        </pc:spChg>
        <pc:spChg chg="add del mod">
          <ac:chgData name="IGOR Lopez Orbe" userId="ec57996b-2ae4-4e7e-b3b5-41577a83a4a5" providerId="ADAL" clId="{B6A46346-7582-482D-A7AF-99955F9C36C1}" dt="2023-08-30T12:33:41.125" v="288"/>
          <ac:spMkLst>
            <pc:docMk/>
            <pc:sldMk cId="2176433010" sldId="293"/>
            <ac:spMk id="52" creationId="{D38A6795-FDAC-63C1-7E64-DBCC10D78E36}"/>
          </ac:spMkLst>
        </pc:spChg>
        <pc:spChg chg="add del mod">
          <ac:chgData name="IGOR Lopez Orbe" userId="ec57996b-2ae4-4e7e-b3b5-41577a83a4a5" providerId="ADAL" clId="{B6A46346-7582-482D-A7AF-99955F9C36C1}" dt="2023-08-30T12:33:41.125" v="288"/>
          <ac:spMkLst>
            <pc:docMk/>
            <pc:sldMk cId="2176433010" sldId="293"/>
            <ac:spMk id="53" creationId="{2E8C7F32-CB41-EB2D-34E1-BCEC69E383DF}"/>
          </ac:spMkLst>
        </pc:spChg>
        <pc:spChg chg="add del mod">
          <ac:chgData name="IGOR Lopez Orbe" userId="ec57996b-2ae4-4e7e-b3b5-41577a83a4a5" providerId="ADAL" clId="{B6A46346-7582-482D-A7AF-99955F9C36C1}" dt="2023-08-30T12:33:41.125" v="288"/>
          <ac:spMkLst>
            <pc:docMk/>
            <pc:sldMk cId="2176433010" sldId="293"/>
            <ac:spMk id="54" creationId="{FD40B9ED-01C2-FF47-B868-B26FACC17680}"/>
          </ac:spMkLst>
        </pc:spChg>
        <pc:spChg chg="add del mod">
          <ac:chgData name="IGOR Lopez Orbe" userId="ec57996b-2ae4-4e7e-b3b5-41577a83a4a5" providerId="ADAL" clId="{B6A46346-7582-482D-A7AF-99955F9C36C1}" dt="2023-08-30T12:33:41.125" v="288"/>
          <ac:spMkLst>
            <pc:docMk/>
            <pc:sldMk cId="2176433010" sldId="293"/>
            <ac:spMk id="55" creationId="{35A7D945-25B9-803C-5AA6-9A83CDC9846B}"/>
          </ac:spMkLst>
        </pc:spChg>
        <pc:spChg chg="add del mod">
          <ac:chgData name="IGOR Lopez Orbe" userId="ec57996b-2ae4-4e7e-b3b5-41577a83a4a5" providerId="ADAL" clId="{B6A46346-7582-482D-A7AF-99955F9C36C1}" dt="2023-08-30T12:33:41.125" v="288"/>
          <ac:spMkLst>
            <pc:docMk/>
            <pc:sldMk cId="2176433010" sldId="293"/>
            <ac:spMk id="57" creationId="{0DF83F70-9379-6D6D-4B4A-F4AFA37C8D0B}"/>
          </ac:spMkLst>
        </pc:spChg>
        <pc:spChg chg="add del mod">
          <ac:chgData name="IGOR Lopez Orbe" userId="ec57996b-2ae4-4e7e-b3b5-41577a83a4a5" providerId="ADAL" clId="{B6A46346-7582-482D-A7AF-99955F9C36C1}" dt="2023-08-30T12:33:41.125" v="288"/>
          <ac:spMkLst>
            <pc:docMk/>
            <pc:sldMk cId="2176433010" sldId="293"/>
            <ac:spMk id="58" creationId="{D1213460-EB7D-7923-CE99-6A0CD97AC7A5}"/>
          </ac:spMkLst>
        </pc:spChg>
        <pc:spChg chg="add del mod">
          <ac:chgData name="IGOR Lopez Orbe" userId="ec57996b-2ae4-4e7e-b3b5-41577a83a4a5" providerId="ADAL" clId="{B6A46346-7582-482D-A7AF-99955F9C36C1}" dt="2023-08-30T12:33:41.125" v="288"/>
          <ac:spMkLst>
            <pc:docMk/>
            <pc:sldMk cId="2176433010" sldId="293"/>
            <ac:spMk id="59" creationId="{40A8FC2B-7E4E-134F-0383-44A85202E76D}"/>
          </ac:spMkLst>
        </pc:spChg>
        <pc:spChg chg="add del mod">
          <ac:chgData name="IGOR Lopez Orbe" userId="ec57996b-2ae4-4e7e-b3b5-41577a83a4a5" providerId="ADAL" clId="{B6A46346-7582-482D-A7AF-99955F9C36C1}" dt="2023-08-30T12:33:41.125" v="288"/>
          <ac:spMkLst>
            <pc:docMk/>
            <pc:sldMk cId="2176433010" sldId="293"/>
            <ac:spMk id="60" creationId="{8009A810-BAC3-BD30-28A3-CA0182B96939}"/>
          </ac:spMkLst>
        </pc:spChg>
        <pc:spChg chg="add del mod">
          <ac:chgData name="IGOR Lopez Orbe" userId="ec57996b-2ae4-4e7e-b3b5-41577a83a4a5" providerId="ADAL" clId="{B6A46346-7582-482D-A7AF-99955F9C36C1}" dt="2023-08-30T12:33:41.125" v="288"/>
          <ac:spMkLst>
            <pc:docMk/>
            <pc:sldMk cId="2176433010" sldId="293"/>
            <ac:spMk id="61" creationId="{EF5914FE-2605-AE2E-D958-935B471D1EF2}"/>
          </ac:spMkLst>
        </pc:spChg>
        <pc:spChg chg="add del mod">
          <ac:chgData name="IGOR Lopez Orbe" userId="ec57996b-2ae4-4e7e-b3b5-41577a83a4a5" providerId="ADAL" clId="{B6A46346-7582-482D-A7AF-99955F9C36C1}" dt="2023-08-30T12:33:41.125" v="288"/>
          <ac:spMkLst>
            <pc:docMk/>
            <pc:sldMk cId="2176433010" sldId="293"/>
            <ac:spMk id="62" creationId="{5A3ABE59-C148-DD68-AB26-B292D7621E7E}"/>
          </ac:spMkLst>
        </pc:spChg>
        <pc:spChg chg="add del mod">
          <ac:chgData name="IGOR Lopez Orbe" userId="ec57996b-2ae4-4e7e-b3b5-41577a83a4a5" providerId="ADAL" clId="{B6A46346-7582-482D-A7AF-99955F9C36C1}" dt="2023-08-30T12:33:41.125" v="288"/>
          <ac:spMkLst>
            <pc:docMk/>
            <pc:sldMk cId="2176433010" sldId="293"/>
            <ac:spMk id="63" creationId="{199467C9-AC2F-FFA1-9BFD-D9F610B01EEA}"/>
          </ac:spMkLst>
        </pc:spChg>
        <pc:spChg chg="add del mod">
          <ac:chgData name="IGOR Lopez Orbe" userId="ec57996b-2ae4-4e7e-b3b5-41577a83a4a5" providerId="ADAL" clId="{B6A46346-7582-482D-A7AF-99955F9C36C1}" dt="2023-08-30T12:33:41.125" v="288"/>
          <ac:spMkLst>
            <pc:docMk/>
            <pc:sldMk cId="2176433010" sldId="293"/>
            <ac:spMk id="64" creationId="{3E5F0275-31F7-E746-3499-E058E7002B6C}"/>
          </ac:spMkLst>
        </pc:spChg>
        <pc:spChg chg="mod">
          <ac:chgData name="IGOR Lopez Orbe" userId="ec57996b-2ae4-4e7e-b3b5-41577a83a4a5" providerId="ADAL" clId="{B6A46346-7582-482D-A7AF-99955F9C36C1}" dt="2023-08-30T12:33:39.223" v="287"/>
          <ac:spMkLst>
            <pc:docMk/>
            <pc:sldMk cId="2176433010" sldId="293"/>
            <ac:spMk id="74" creationId="{5A2E4262-FFE9-DA4E-9435-D3224EDF7BD8}"/>
          </ac:spMkLst>
        </pc:spChg>
        <pc:spChg chg="mod">
          <ac:chgData name="IGOR Lopez Orbe" userId="ec57996b-2ae4-4e7e-b3b5-41577a83a4a5" providerId="ADAL" clId="{B6A46346-7582-482D-A7AF-99955F9C36C1}" dt="2023-08-30T12:33:39.223" v="287"/>
          <ac:spMkLst>
            <pc:docMk/>
            <pc:sldMk cId="2176433010" sldId="293"/>
            <ac:spMk id="75" creationId="{1F6E0258-B6D1-871F-0662-DAECEE0E3E7E}"/>
          </ac:spMkLst>
        </pc:spChg>
        <pc:spChg chg="mod">
          <ac:chgData name="IGOR Lopez Orbe" userId="ec57996b-2ae4-4e7e-b3b5-41577a83a4a5" providerId="ADAL" clId="{B6A46346-7582-482D-A7AF-99955F9C36C1}" dt="2023-08-30T12:33:39.223" v="287"/>
          <ac:spMkLst>
            <pc:docMk/>
            <pc:sldMk cId="2176433010" sldId="293"/>
            <ac:spMk id="76" creationId="{38F83F9B-9285-0937-84D3-BAD3928E4383}"/>
          </ac:spMkLst>
        </pc:spChg>
        <pc:spChg chg="mod">
          <ac:chgData name="IGOR Lopez Orbe" userId="ec57996b-2ae4-4e7e-b3b5-41577a83a4a5" providerId="ADAL" clId="{B6A46346-7582-482D-A7AF-99955F9C36C1}" dt="2023-08-30T12:33:39.223" v="287"/>
          <ac:spMkLst>
            <pc:docMk/>
            <pc:sldMk cId="2176433010" sldId="293"/>
            <ac:spMk id="77" creationId="{93BA47C1-063B-B72E-CFB5-D9225B61A56D}"/>
          </ac:spMkLst>
        </pc:spChg>
        <pc:spChg chg="add del mod">
          <ac:chgData name="IGOR Lopez Orbe" userId="ec57996b-2ae4-4e7e-b3b5-41577a83a4a5" providerId="ADAL" clId="{B6A46346-7582-482D-A7AF-99955F9C36C1}" dt="2023-08-30T12:33:41.125" v="288"/>
          <ac:spMkLst>
            <pc:docMk/>
            <pc:sldMk cId="2176433010" sldId="293"/>
            <ac:spMk id="78" creationId="{9467A288-A00A-4F00-9EC0-0165E7BE7BF6}"/>
          </ac:spMkLst>
        </pc:spChg>
        <pc:spChg chg="add del mod">
          <ac:chgData name="IGOR Lopez Orbe" userId="ec57996b-2ae4-4e7e-b3b5-41577a83a4a5" providerId="ADAL" clId="{B6A46346-7582-482D-A7AF-99955F9C36C1}" dt="2023-08-30T12:33:41.125" v="288"/>
          <ac:spMkLst>
            <pc:docMk/>
            <pc:sldMk cId="2176433010" sldId="293"/>
            <ac:spMk id="79" creationId="{F19552A9-04DB-4C33-ADAB-42A1DBC9CF6E}"/>
          </ac:spMkLst>
        </pc:spChg>
        <pc:spChg chg="add del mod">
          <ac:chgData name="IGOR Lopez Orbe" userId="ec57996b-2ae4-4e7e-b3b5-41577a83a4a5" providerId="ADAL" clId="{B6A46346-7582-482D-A7AF-99955F9C36C1}" dt="2023-08-30T12:33:41.125" v="288"/>
          <ac:spMkLst>
            <pc:docMk/>
            <pc:sldMk cId="2176433010" sldId="293"/>
            <ac:spMk id="80" creationId="{FF0EE396-D2BF-8D4C-CB79-FE945DF2C305}"/>
          </ac:spMkLst>
        </pc:spChg>
        <pc:spChg chg="add del mod">
          <ac:chgData name="IGOR Lopez Orbe" userId="ec57996b-2ae4-4e7e-b3b5-41577a83a4a5" providerId="ADAL" clId="{B6A46346-7582-482D-A7AF-99955F9C36C1}" dt="2023-08-30T12:33:41.125" v="288"/>
          <ac:spMkLst>
            <pc:docMk/>
            <pc:sldMk cId="2176433010" sldId="293"/>
            <ac:spMk id="81" creationId="{A941B50C-97A2-4BCD-AFCE-F3BCD777F36F}"/>
          </ac:spMkLst>
        </pc:spChg>
        <pc:spChg chg="add del mod">
          <ac:chgData name="IGOR Lopez Orbe" userId="ec57996b-2ae4-4e7e-b3b5-41577a83a4a5" providerId="ADAL" clId="{B6A46346-7582-482D-A7AF-99955F9C36C1}" dt="2023-08-30T12:33:41.125" v="288"/>
          <ac:spMkLst>
            <pc:docMk/>
            <pc:sldMk cId="2176433010" sldId="293"/>
            <ac:spMk id="82" creationId="{174E3E47-AF92-27F9-10B4-CA16F816E279}"/>
          </ac:spMkLst>
        </pc:spChg>
        <pc:spChg chg="add del mod">
          <ac:chgData name="IGOR Lopez Orbe" userId="ec57996b-2ae4-4e7e-b3b5-41577a83a4a5" providerId="ADAL" clId="{B6A46346-7582-482D-A7AF-99955F9C36C1}" dt="2023-08-30T12:33:41.125" v="288"/>
          <ac:spMkLst>
            <pc:docMk/>
            <pc:sldMk cId="2176433010" sldId="293"/>
            <ac:spMk id="83" creationId="{7A5A5DF1-B6C0-A2A8-EA70-D4715156EFD7}"/>
          </ac:spMkLst>
        </pc:spChg>
        <pc:spChg chg="add del mod">
          <ac:chgData name="IGOR Lopez Orbe" userId="ec57996b-2ae4-4e7e-b3b5-41577a83a4a5" providerId="ADAL" clId="{B6A46346-7582-482D-A7AF-99955F9C36C1}" dt="2023-08-30T12:33:41.125" v="288"/>
          <ac:spMkLst>
            <pc:docMk/>
            <pc:sldMk cId="2176433010" sldId="293"/>
            <ac:spMk id="84" creationId="{40D45CEB-A61C-E9AB-FB07-940B39ED210E}"/>
          </ac:spMkLst>
        </pc:spChg>
        <pc:spChg chg="add del mod">
          <ac:chgData name="IGOR Lopez Orbe" userId="ec57996b-2ae4-4e7e-b3b5-41577a83a4a5" providerId="ADAL" clId="{B6A46346-7582-482D-A7AF-99955F9C36C1}" dt="2023-08-30T12:33:41.125" v="288"/>
          <ac:spMkLst>
            <pc:docMk/>
            <pc:sldMk cId="2176433010" sldId="293"/>
            <ac:spMk id="85" creationId="{9932C818-6800-C32F-A854-1E4CEB76E52F}"/>
          </ac:spMkLst>
        </pc:spChg>
        <pc:spChg chg="add del mod">
          <ac:chgData name="IGOR Lopez Orbe" userId="ec57996b-2ae4-4e7e-b3b5-41577a83a4a5" providerId="ADAL" clId="{B6A46346-7582-482D-A7AF-99955F9C36C1}" dt="2023-08-30T12:33:41.125" v="288"/>
          <ac:spMkLst>
            <pc:docMk/>
            <pc:sldMk cId="2176433010" sldId="293"/>
            <ac:spMk id="86" creationId="{BFEAAC7B-747F-3BCF-DB3A-B443ECF3B3E2}"/>
          </ac:spMkLst>
        </pc:spChg>
        <pc:spChg chg="add del mod">
          <ac:chgData name="IGOR Lopez Orbe" userId="ec57996b-2ae4-4e7e-b3b5-41577a83a4a5" providerId="ADAL" clId="{B6A46346-7582-482D-A7AF-99955F9C36C1}" dt="2023-08-30T12:33:41.125" v="288"/>
          <ac:spMkLst>
            <pc:docMk/>
            <pc:sldMk cId="2176433010" sldId="293"/>
            <ac:spMk id="87" creationId="{BB6CDB18-2EBE-B6B8-16E9-8D285A1A49B8}"/>
          </ac:spMkLst>
        </pc:spChg>
        <pc:spChg chg="add del mod">
          <ac:chgData name="IGOR Lopez Orbe" userId="ec57996b-2ae4-4e7e-b3b5-41577a83a4a5" providerId="ADAL" clId="{B6A46346-7582-482D-A7AF-99955F9C36C1}" dt="2023-08-30T12:33:41.125" v="288"/>
          <ac:spMkLst>
            <pc:docMk/>
            <pc:sldMk cId="2176433010" sldId="293"/>
            <ac:spMk id="88" creationId="{76DBF538-2034-90F4-86D9-2C3C7BA210AD}"/>
          </ac:spMkLst>
        </pc:spChg>
        <pc:grpChg chg="add del mod">
          <ac:chgData name="IGOR Lopez Orbe" userId="ec57996b-2ae4-4e7e-b3b5-41577a83a4a5" providerId="ADAL" clId="{B6A46346-7582-482D-A7AF-99955F9C36C1}" dt="2023-08-30T12:33:41.125" v="288"/>
          <ac:grpSpMkLst>
            <pc:docMk/>
            <pc:sldMk cId="2176433010" sldId="293"/>
            <ac:grpSpMk id="73" creationId="{A4337C9A-1411-0351-C2C6-6FAA448158A6}"/>
          </ac:grpSpMkLst>
        </pc:grpChg>
        <pc:picChg chg="add del mod">
          <ac:chgData name="IGOR Lopez Orbe" userId="ec57996b-2ae4-4e7e-b3b5-41577a83a4a5" providerId="ADAL" clId="{B6A46346-7582-482D-A7AF-99955F9C36C1}" dt="2023-08-30T12:33:35.141" v="286" actId="478"/>
          <ac:picMkLst>
            <pc:docMk/>
            <pc:sldMk cId="2176433010" sldId="293"/>
            <ac:picMk id="11" creationId="{43F42FA5-F1AF-8260-7570-BE0439546628}"/>
          </ac:picMkLst>
        </pc:picChg>
        <pc:picChg chg="add del mod">
          <ac:chgData name="IGOR Lopez Orbe" userId="ec57996b-2ae4-4e7e-b3b5-41577a83a4a5" providerId="ADAL" clId="{B6A46346-7582-482D-A7AF-99955F9C36C1}" dt="2023-08-30T12:33:41.125" v="288"/>
          <ac:picMkLst>
            <pc:docMk/>
            <pc:sldMk cId="2176433010" sldId="293"/>
            <ac:picMk id="38" creationId="{62E97A01-56EB-6305-1CFF-8C23C4109A7C}"/>
          </ac:picMkLst>
        </pc:picChg>
        <pc:picChg chg="add del mod">
          <ac:chgData name="IGOR Lopez Orbe" userId="ec57996b-2ae4-4e7e-b3b5-41577a83a4a5" providerId="ADAL" clId="{B6A46346-7582-482D-A7AF-99955F9C36C1}" dt="2023-08-30T12:33:41.125" v="288"/>
          <ac:picMkLst>
            <pc:docMk/>
            <pc:sldMk cId="2176433010" sldId="293"/>
            <ac:picMk id="39" creationId="{504B3D59-2440-C5AC-A4A8-3AB111E1EFC0}"/>
          </ac:picMkLst>
        </pc:picChg>
        <pc:picChg chg="add del mod">
          <ac:chgData name="IGOR Lopez Orbe" userId="ec57996b-2ae4-4e7e-b3b5-41577a83a4a5" providerId="ADAL" clId="{B6A46346-7582-482D-A7AF-99955F9C36C1}" dt="2023-08-30T12:33:41.125" v="288"/>
          <ac:picMkLst>
            <pc:docMk/>
            <pc:sldMk cId="2176433010" sldId="293"/>
            <ac:picMk id="40" creationId="{DA55C12A-545F-E4F4-62CC-3B2AEE3F2C77}"/>
          </ac:picMkLst>
        </pc:picChg>
        <pc:picChg chg="add del mod">
          <ac:chgData name="IGOR Lopez Orbe" userId="ec57996b-2ae4-4e7e-b3b5-41577a83a4a5" providerId="ADAL" clId="{B6A46346-7582-482D-A7AF-99955F9C36C1}" dt="2023-08-30T12:33:41.125" v="288"/>
          <ac:picMkLst>
            <pc:docMk/>
            <pc:sldMk cId="2176433010" sldId="293"/>
            <ac:picMk id="56" creationId="{C95CAD14-3CE8-806C-A265-39416284B528}"/>
          </ac:picMkLst>
        </pc:picChg>
        <pc:picChg chg="add del mod">
          <ac:chgData name="IGOR Lopez Orbe" userId="ec57996b-2ae4-4e7e-b3b5-41577a83a4a5" providerId="ADAL" clId="{B6A46346-7582-482D-A7AF-99955F9C36C1}" dt="2023-08-30T12:33:41.125" v="288"/>
          <ac:picMkLst>
            <pc:docMk/>
            <pc:sldMk cId="2176433010" sldId="293"/>
            <ac:picMk id="68" creationId="{4F5B1900-A2FE-6BA3-E011-9A74B2632E87}"/>
          </ac:picMkLst>
        </pc:picChg>
        <pc:picChg chg="add del mod">
          <ac:chgData name="IGOR Lopez Orbe" userId="ec57996b-2ae4-4e7e-b3b5-41577a83a4a5" providerId="ADAL" clId="{B6A46346-7582-482D-A7AF-99955F9C36C1}" dt="2023-08-30T12:33:41.125" v="288"/>
          <ac:picMkLst>
            <pc:docMk/>
            <pc:sldMk cId="2176433010" sldId="293"/>
            <ac:picMk id="69" creationId="{3369122A-72A2-3952-BD5D-40AE70EFE9F0}"/>
          </ac:picMkLst>
        </pc:picChg>
        <pc:picChg chg="add del mod">
          <ac:chgData name="IGOR Lopez Orbe" userId="ec57996b-2ae4-4e7e-b3b5-41577a83a4a5" providerId="ADAL" clId="{B6A46346-7582-482D-A7AF-99955F9C36C1}" dt="2023-08-30T12:33:41.125" v="288"/>
          <ac:picMkLst>
            <pc:docMk/>
            <pc:sldMk cId="2176433010" sldId="293"/>
            <ac:picMk id="70" creationId="{17D1BF7C-5ACB-5274-6726-9A06D5C4FAC4}"/>
          </ac:picMkLst>
        </pc:picChg>
        <pc:picChg chg="mod">
          <ac:chgData name="IGOR Lopez Orbe" userId="ec57996b-2ae4-4e7e-b3b5-41577a83a4a5" providerId="ADAL" clId="{B6A46346-7582-482D-A7AF-99955F9C36C1}" dt="2023-08-30T12:34:26.145" v="292" actId="1076"/>
          <ac:picMkLst>
            <pc:docMk/>
            <pc:sldMk cId="2176433010" sldId="293"/>
            <ac:picMk id="89" creationId="{7736A49B-87F2-3A97-371A-E777D0A1F597}"/>
          </ac:picMkLst>
        </pc:picChg>
        <pc:cxnChg chg="add del mod">
          <ac:chgData name="IGOR Lopez Orbe" userId="ec57996b-2ae4-4e7e-b3b5-41577a83a4a5" providerId="ADAL" clId="{B6A46346-7582-482D-A7AF-99955F9C36C1}" dt="2023-08-30T12:33:41.125" v="288"/>
          <ac:cxnSpMkLst>
            <pc:docMk/>
            <pc:sldMk cId="2176433010" sldId="293"/>
            <ac:cxnSpMk id="20" creationId="{2CEB2838-7BDB-3794-306E-14B4402CDA16}"/>
          </ac:cxnSpMkLst>
        </pc:cxnChg>
        <pc:cxnChg chg="add del mod">
          <ac:chgData name="IGOR Lopez Orbe" userId="ec57996b-2ae4-4e7e-b3b5-41577a83a4a5" providerId="ADAL" clId="{B6A46346-7582-482D-A7AF-99955F9C36C1}" dt="2023-08-30T12:33:41.125" v="288"/>
          <ac:cxnSpMkLst>
            <pc:docMk/>
            <pc:sldMk cId="2176433010" sldId="293"/>
            <ac:cxnSpMk id="21" creationId="{838B0141-AD25-2E2A-4E04-7E0249F4A6F2}"/>
          </ac:cxnSpMkLst>
        </pc:cxnChg>
        <pc:cxnChg chg="add del mod">
          <ac:chgData name="IGOR Lopez Orbe" userId="ec57996b-2ae4-4e7e-b3b5-41577a83a4a5" providerId="ADAL" clId="{B6A46346-7582-482D-A7AF-99955F9C36C1}" dt="2023-08-30T12:33:41.125" v="288"/>
          <ac:cxnSpMkLst>
            <pc:docMk/>
            <pc:sldMk cId="2176433010" sldId="293"/>
            <ac:cxnSpMk id="22" creationId="{078C9FD2-9C4B-D26D-65DA-D9C2E5DE58DB}"/>
          </ac:cxnSpMkLst>
        </pc:cxnChg>
        <pc:cxnChg chg="add del mod">
          <ac:chgData name="IGOR Lopez Orbe" userId="ec57996b-2ae4-4e7e-b3b5-41577a83a4a5" providerId="ADAL" clId="{B6A46346-7582-482D-A7AF-99955F9C36C1}" dt="2023-08-30T12:33:41.125" v="288"/>
          <ac:cxnSpMkLst>
            <pc:docMk/>
            <pc:sldMk cId="2176433010" sldId="293"/>
            <ac:cxnSpMk id="23" creationId="{53A3394C-5095-D334-AF73-C99B99124285}"/>
          </ac:cxnSpMkLst>
        </pc:cxnChg>
        <pc:cxnChg chg="add del mod">
          <ac:chgData name="IGOR Lopez Orbe" userId="ec57996b-2ae4-4e7e-b3b5-41577a83a4a5" providerId="ADAL" clId="{B6A46346-7582-482D-A7AF-99955F9C36C1}" dt="2023-08-30T12:33:41.125" v="288"/>
          <ac:cxnSpMkLst>
            <pc:docMk/>
            <pc:sldMk cId="2176433010" sldId="293"/>
            <ac:cxnSpMk id="24" creationId="{EE7D1161-DFDA-F7BE-FB77-F98C202088D1}"/>
          </ac:cxnSpMkLst>
        </pc:cxnChg>
        <pc:cxnChg chg="add del mod">
          <ac:chgData name="IGOR Lopez Orbe" userId="ec57996b-2ae4-4e7e-b3b5-41577a83a4a5" providerId="ADAL" clId="{B6A46346-7582-482D-A7AF-99955F9C36C1}" dt="2023-08-30T12:33:41.125" v="288"/>
          <ac:cxnSpMkLst>
            <pc:docMk/>
            <pc:sldMk cId="2176433010" sldId="293"/>
            <ac:cxnSpMk id="25" creationId="{A6582B09-4DBD-540F-0BE7-65673B2F432C}"/>
          </ac:cxnSpMkLst>
        </pc:cxnChg>
        <pc:cxnChg chg="add del mod">
          <ac:chgData name="IGOR Lopez Orbe" userId="ec57996b-2ae4-4e7e-b3b5-41577a83a4a5" providerId="ADAL" clId="{B6A46346-7582-482D-A7AF-99955F9C36C1}" dt="2023-08-30T12:33:41.125" v="288"/>
          <ac:cxnSpMkLst>
            <pc:docMk/>
            <pc:sldMk cId="2176433010" sldId="293"/>
            <ac:cxnSpMk id="32" creationId="{D267BF4C-0245-14F0-F2B9-D17929CE056F}"/>
          </ac:cxnSpMkLst>
        </pc:cxnChg>
        <pc:cxnChg chg="add del mod">
          <ac:chgData name="IGOR Lopez Orbe" userId="ec57996b-2ae4-4e7e-b3b5-41577a83a4a5" providerId="ADAL" clId="{B6A46346-7582-482D-A7AF-99955F9C36C1}" dt="2023-08-30T12:33:41.125" v="288"/>
          <ac:cxnSpMkLst>
            <pc:docMk/>
            <pc:sldMk cId="2176433010" sldId="293"/>
            <ac:cxnSpMk id="65" creationId="{58C3ACBB-19A2-216A-3110-81BF1A707A68}"/>
          </ac:cxnSpMkLst>
        </pc:cxnChg>
        <pc:cxnChg chg="add del mod">
          <ac:chgData name="IGOR Lopez Orbe" userId="ec57996b-2ae4-4e7e-b3b5-41577a83a4a5" providerId="ADAL" clId="{B6A46346-7582-482D-A7AF-99955F9C36C1}" dt="2023-08-30T12:33:41.125" v="288"/>
          <ac:cxnSpMkLst>
            <pc:docMk/>
            <pc:sldMk cId="2176433010" sldId="293"/>
            <ac:cxnSpMk id="66" creationId="{7AC7A6B3-4CED-28AE-CCAF-4FE221456545}"/>
          </ac:cxnSpMkLst>
        </pc:cxnChg>
        <pc:cxnChg chg="add del mod">
          <ac:chgData name="IGOR Lopez Orbe" userId="ec57996b-2ae4-4e7e-b3b5-41577a83a4a5" providerId="ADAL" clId="{B6A46346-7582-482D-A7AF-99955F9C36C1}" dt="2023-08-30T12:33:41.125" v="288"/>
          <ac:cxnSpMkLst>
            <pc:docMk/>
            <pc:sldMk cId="2176433010" sldId="293"/>
            <ac:cxnSpMk id="67" creationId="{5A5BC07F-D499-7A8D-979E-7D689B4362A1}"/>
          </ac:cxnSpMkLst>
        </pc:cxnChg>
        <pc:cxnChg chg="add del mod">
          <ac:chgData name="IGOR Lopez Orbe" userId="ec57996b-2ae4-4e7e-b3b5-41577a83a4a5" providerId="ADAL" clId="{B6A46346-7582-482D-A7AF-99955F9C36C1}" dt="2023-08-30T12:33:41.125" v="288"/>
          <ac:cxnSpMkLst>
            <pc:docMk/>
            <pc:sldMk cId="2176433010" sldId="293"/>
            <ac:cxnSpMk id="71" creationId="{0CF20129-0CC1-70F1-9901-0D11935E0B47}"/>
          </ac:cxnSpMkLst>
        </pc:cxnChg>
        <pc:cxnChg chg="add del mod">
          <ac:chgData name="IGOR Lopez Orbe" userId="ec57996b-2ae4-4e7e-b3b5-41577a83a4a5" providerId="ADAL" clId="{B6A46346-7582-482D-A7AF-99955F9C36C1}" dt="2023-08-30T12:33:41.125" v="288"/>
          <ac:cxnSpMkLst>
            <pc:docMk/>
            <pc:sldMk cId="2176433010" sldId="293"/>
            <ac:cxnSpMk id="72" creationId="{545417F6-E4E3-16E3-23A9-4FD45295FE05}"/>
          </ac:cxnSpMkLst>
        </pc:cxnChg>
      </pc:sldChg>
      <pc:sldChg chg="modSp new del mod">
        <pc:chgData name="IGOR Lopez Orbe" userId="ec57996b-2ae4-4e7e-b3b5-41577a83a4a5" providerId="ADAL" clId="{B6A46346-7582-482D-A7AF-99955F9C36C1}" dt="2023-08-30T12:31:36.721" v="227" actId="47"/>
        <pc:sldMkLst>
          <pc:docMk/>
          <pc:sldMk cId="3896412378" sldId="293"/>
        </pc:sldMkLst>
        <pc:spChg chg="mod">
          <ac:chgData name="IGOR Lopez Orbe" userId="ec57996b-2ae4-4e7e-b3b5-41577a83a4a5" providerId="ADAL" clId="{B6A46346-7582-482D-A7AF-99955F9C36C1}" dt="2023-08-30T12:31:29.677" v="226" actId="27636"/>
          <ac:spMkLst>
            <pc:docMk/>
            <pc:sldMk cId="3896412378" sldId="293"/>
            <ac:spMk id="3" creationId="{7912ACF8-EC37-A04A-8378-430784EEA4C2}"/>
          </ac:spMkLst>
        </pc:spChg>
      </pc:sldChg>
      <pc:sldChg chg="modSp new del mod">
        <pc:chgData name="IGOR Lopez Orbe" userId="ec57996b-2ae4-4e7e-b3b5-41577a83a4a5" providerId="ADAL" clId="{B6A46346-7582-482D-A7AF-99955F9C36C1}" dt="2023-08-30T12:34:57.410" v="299" actId="47"/>
        <pc:sldMkLst>
          <pc:docMk/>
          <pc:sldMk cId="3768814302" sldId="294"/>
        </pc:sldMkLst>
        <pc:spChg chg="mod">
          <ac:chgData name="IGOR Lopez Orbe" userId="ec57996b-2ae4-4e7e-b3b5-41577a83a4a5" providerId="ADAL" clId="{B6A46346-7582-482D-A7AF-99955F9C36C1}" dt="2023-08-30T12:34:51.997" v="297" actId="27636"/>
          <ac:spMkLst>
            <pc:docMk/>
            <pc:sldMk cId="3768814302" sldId="294"/>
            <ac:spMk id="3" creationId="{D4C0869B-CA3B-FA31-AA79-44DA80769FC4}"/>
          </ac:spMkLst>
        </pc:spChg>
        <pc:spChg chg="mod">
          <ac:chgData name="IGOR Lopez Orbe" userId="ec57996b-2ae4-4e7e-b3b5-41577a83a4a5" providerId="ADAL" clId="{B6A46346-7582-482D-A7AF-99955F9C36C1}" dt="2023-08-30T12:34:51.994" v="296" actId="27636"/>
          <ac:spMkLst>
            <pc:docMk/>
            <pc:sldMk cId="3768814302" sldId="294"/>
            <ac:spMk id="9" creationId="{12B898CD-4B71-00A1-B7F0-ED9EC07BC05A}"/>
          </ac:spMkLst>
        </pc:spChg>
        <pc:spChg chg="mod">
          <ac:chgData name="IGOR Lopez Orbe" userId="ec57996b-2ae4-4e7e-b3b5-41577a83a4a5" providerId="ADAL" clId="{B6A46346-7582-482D-A7AF-99955F9C36C1}" dt="2023-08-30T12:34:52.001" v="298" actId="27636"/>
          <ac:spMkLst>
            <pc:docMk/>
            <pc:sldMk cId="3768814302" sldId="294"/>
            <ac:spMk id="10" creationId="{3B0D7921-E1F1-9CF5-7817-81FDE9D508D4}"/>
          </ac:spMkLst>
        </pc:spChg>
      </pc:sldChg>
      <pc:sldChg chg="add del setBg">
        <pc:chgData name="IGOR Lopez Orbe" userId="ec57996b-2ae4-4e7e-b3b5-41577a83a4a5" providerId="ADAL" clId="{B6A46346-7582-482D-A7AF-99955F9C36C1}" dt="2023-08-30T12:38:31.516" v="337" actId="47"/>
        <pc:sldMkLst>
          <pc:docMk/>
          <pc:sldMk cId="2489796149" sldId="2147476790"/>
        </pc:sldMkLst>
      </pc:sldChg>
      <pc:sldChg chg="addSp delSp modSp new mod">
        <pc:chgData name="IGOR Lopez Orbe" userId="ec57996b-2ae4-4e7e-b3b5-41577a83a4a5" providerId="ADAL" clId="{B6A46346-7582-482D-A7AF-99955F9C36C1}" dt="2023-08-30T12:44:56.369" v="496" actId="20577"/>
        <pc:sldMkLst>
          <pc:docMk/>
          <pc:sldMk cId="3569117900" sldId="2147476791"/>
        </pc:sldMkLst>
        <pc:spChg chg="del mod">
          <ac:chgData name="IGOR Lopez Orbe" userId="ec57996b-2ae4-4e7e-b3b5-41577a83a4a5" providerId="ADAL" clId="{B6A46346-7582-482D-A7AF-99955F9C36C1}" dt="2023-08-30T12:35:24.791" v="311" actId="478"/>
          <ac:spMkLst>
            <pc:docMk/>
            <pc:sldMk cId="3569117900" sldId="2147476791"/>
            <ac:spMk id="3" creationId="{8D44B50B-0221-16D5-8765-966B320DB229}"/>
          </ac:spMkLst>
        </pc:spChg>
        <pc:spChg chg="mod">
          <ac:chgData name="IGOR Lopez Orbe" userId="ec57996b-2ae4-4e7e-b3b5-41577a83a4a5" providerId="ADAL" clId="{B6A46346-7582-482D-A7AF-99955F9C36C1}" dt="2023-08-30T12:44:56.369" v="496" actId="20577"/>
          <ac:spMkLst>
            <pc:docMk/>
            <pc:sldMk cId="3569117900" sldId="2147476791"/>
            <ac:spMk id="4" creationId="{FFF177FB-1F51-6FAD-58CF-C11FAE547733}"/>
          </ac:spMkLst>
        </pc:spChg>
        <pc:spChg chg="del">
          <ac:chgData name="IGOR Lopez Orbe" userId="ec57996b-2ae4-4e7e-b3b5-41577a83a4a5" providerId="ADAL" clId="{B6A46346-7582-482D-A7AF-99955F9C36C1}" dt="2023-08-30T12:35:24.791" v="311" actId="478"/>
          <ac:spMkLst>
            <pc:docMk/>
            <pc:sldMk cId="3569117900" sldId="2147476791"/>
            <ac:spMk id="5" creationId="{D77F7985-7B47-AEAB-59D5-CDD165023B1E}"/>
          </ac:spMkLst>
        </pc:spChg>
        <pc:spChg chg="del">
          <ac:chgData name="IGOR Lopez Orbe" userId="ec57996b-2ae4-4e7e-b3b5-41577a83a4a5" providerId="ADAL" clId="{B6A46346-7582-482D-A7AF-99955F9C36C1}" dt="2023-08-30T12:35:24.791" v="311" actId="478"/>
          <ac:spMkLst>
            <pc:docMk/>
            <pc:sldMk cId="3569117900" sldId="2147476791"/>
            <ac:spMk id="6" creationId="{72DFAEDC-14DA-A7AD-57D2-87C34D622FC4}"/>
          </ac:spMkLst>
        </pc:spChg>
        <pc:spChg chg="del">
          <ac:chgData name="IGOR Lopez Orbe" userId="ec57996b-2ae4-4e7e-b3b5-41577a83a4a5" providerId="ADAL" clId="{B6A46346-7582-482D-A7AF-99955F9C36C1}" dt="2023-08-30T12:35:24.791" v="311" actId="478"/>
          <ac:spMkLst>
            <pc:docMk/>
            <pc:sldMk cId="3569117900" sldId="2147476791"/>
            <ac:spMk id="7" creationId="{05A20457-12B6-CDD3-B83B-8A1846182C41}"/>
          </ac:spMkLst>
        </pc:spChg>
        <pc:spChg chg="del">
          <ac:chgData name="IGOR Lopez Orbe" userId="ec57996b-2ae4-4e7e-b3b5-41577a83a4a5" providerId="ADAL" clId="{B6A46346-7582-482D-A7AF-99955F9C36C1}" dt="2023-08-30T12:35:24.791" v="311" actId="478"/>
          <ac:spMkLst>
            <pc:docMk/>
            <pc:sldMk cId="3569117900" sldId="2147476791"/>
            <ac:spMk id="8" creationId="{FD78095C-0280-ABF2-82F8-B5EA48D9F9DD}"/>
          </ac:spMkLst>
        </pc:spChg>
        <pc:spChg chg="mod">
          <ac:chgData name="IGOR Lopez Orbe" userId="ec57996b-2ae4-4e7e-b3b5-41577a83a4a5" providerId="ADAL" clId="{B6A46346-7582-482D-A7AF-99955F9C36C1}" dt="2023-08-30T12:43:58.671" v="454" actId="20577"/>
          <ac:spMkLst>
            <pc:docMk/>
            <pc:sldMk cId="3569117900" sldId="2147476791"/>
            <ac:spMk id="9" creationId="{8254FFE9-AA1F-EA11-03A6-7AA28D05EEF6}"/>
          </ac:spMkLst>
        </pc:spChg>
        <pc:spChg chg="mod">
          <ac:chgData name="IGOR Lopez Orbe" userId="ec57996b-2ae4-4e7e-b3b5-41577a83a4a5" providerId="ADAL" clId="{B6A46346-7582-482D-A7AF-99955F9C36C1}" dt="2023-08-30T12:36:03.174" v="318"/>
          <ac:spMkLst>
            <pc:docMk/>
            <pc:sldMk cId="3569117900" sldId="2147476791"/>
            <ac:spMk id="10" creationId="{5FB5A7FE-9115-5C3A-E45F-7F626B9E2BFC}"/>
          </ac:spMkLst>
        </pc:spChg>
        <pc:spChg chg="add del mod">
          <ac:chgData name="IGOR Lopez Orbe" userId="ec57996b-2ae4-4e7e-b3b5-41577a83a4a5" providerId="ADAL" clId="{B6A46346-7582-482D-A7AF-99955F9C36C1}" dt="2023-08-30T12:35:20.952" v="307"/>
          <ac:spMkLst>
            <pc:docMk/>
            <pc:sldMk cId="3569117900" sldId="2147476791"/>
            <ac:spMk id="11" creationId="{57BFBCB2-74E2-307A-28F4-3BCE02D6B03D}"/>
          </ac:spMkLst>
        </pc:spChg>
        <pc:spChg chg="add del mod">
          <ac:chgData name="IGOR Lopez Orbe" userId="ec57996b-2ae4-4e7e-b3b5-41577a83a4a5" providerId="ADAL" clId="{B6A46346-7582-482D-A7AF-99955F9C36C1}" dt="2023-08-30T12:35:20.952" v="307"/>
          <ac:spMkLst>
            <pc:docMk/>
            <pc:sldMk cId="3569117900" sldId="2147476791"/>
            <ac:spMk id="12" creationId="{EBC51C47-EC1E-E070-43A5-5CB0921C6A99}"/>
          </ac:spMkLst>
        </pc:spChg>
        <pc:spChg chg="add del mod">
          <ac:chgData name="IGOR Lopez Orbe" userId="ec57996b-2ae4-4e7e-b3b5-41577a83a4a5" providerId="ADAL" clId="{B6A46346-7582-482D-A7AF-99955F9C36C1}" dt="2023-08-30T12:35:20.952" v="307"/>
          <ac:spMkLst>
            <pc:docMk/>
            <pc:sldMk cId="3569117900" sldId="2147476791"/>
            <ac:spMk id="13" creationId="{05D9955A-58BA-1D64-80B8-6E35F56B2051}"/>
          </ac:spMkLst>
        </pc:spChg>
        <pc:spChg chg="add del mod">
          <ac:chgData name="IGOR Lopez Orbe" userId="ec57996b-2ae4-4e7e-b3b5-41577a83a4a5" providerId="ADAL" clId="{B6A46346-7582-482D-A7AF-99955F9C36C1}" dt="2023-08-30T12:35:20.952" v="307"/>
          <ac:spMkLst>
            <pc:docMk/>
            <pc:sldMk cId="3569117900" sldId="2147476791"/>
            <ac:spMk id="16" creationId="{B6143FF1-36C3-59D5-7A67-F266E7EAD2D8}"/>
          </ac:spMkLst>
        </pc:spChg>
        <pc:spChg chg="add del mod">
          <ac:chgData name="IGOR Lopez Orbe" userId="ec57996b-2ae4-4e7e-b3b5-41577a83a4a5" providerId="ADAL" clId="{B6A46346-7582-482D-A7AF-99955F9C36C1}" dt="2023-08-30T12:35:20.952" v="307"/>
          <ac:spMkLst>
            <pc:docMk/>
            <pc:sldMk cId="3569117900" sldId="2147476791"/>
            <ac:spMk id="17" creationId="{6BC42F48-8770-E4FC-6B36-BB8BDCE00671}"/>
          </ac:spMkLst>
        </pc:spChg>
        <pc:spChg chg="add del mod">
          <ac:chgData name="IGOR Lopez Orbe" userId="ec57996b-2ae4-4e7e-b3b5-41577a83a4a5" providerId="ADAL" clId="{B6A46346-7582-482D-A7AF-99955F9C36C1}" dt="2023-08-30T12:35:20.952" v="307"/>
          <ac:spMkLst>
            <pc:docMk/>
            <pc:sldMk cId="3569117900" sldId="2147476791"/>
            <ac:spMk id="18" creationId="{A1F81CA1-B714-E97A-48C2-60115A4261B6}"/>
          </ac:spMkLst>
        </pc:spChg>
        <pc:spChg chg="add del mod">
          <ac:chgData name="IGOR Lopez Orbe" userId="ec57996b-2ae4-4e7e-b3b5-41577a83a4a5" providerId="ADAL" clId="{B6A46346-7582-482D-A7AF-99955F9C36C1}" dt="2023-08-30T12:37:26.606" v="323" actId="478"/>
          <ac:spMkLst>
            <pc:docMk/>
            <pc:sldMk cId="3569117900" sldId="2147476791"/>
            <ac:spMk id="21" creationId="{41569306-DADB-79FC-5E62-71107650738F}"/>
          </ac:spMkLst>
        </pc:spChg>
        <pc:spChg chg="add del mod">
          <ac:chgData name="IGOR Lopez Orbe" userId="ec57996b-2ae4-4e7e-b3b5-41577a83a4a5" providerId="ADAL" clId="{B6A46346-7582-482D-A7AF-99955F9C36C1}" dt="2023-08-30T12:37:30.436" v="324" actId="478"/>
          <ac:spMkLst>
            <pc:docMk/>
            <pc:sldMk cId="3569117900" sldId="2147476791"/>
            <ac:spMk id="22" creationId="{62A445F6-A2A1-6373-A57F-2A0F6C239862}"/>
          </ac:spMkLst>
        </pc:spChg>
        <pc:spChg chg="add del mod">
          <ac:chgData name="IGOR Lopez Orbe" userId="ec57996b-2ae4-4e7e-b3b5-41577a83a4a5" providerId="ADAL" clId="{B6A46346-7582-482D-A7AF-99955F9C36C1}" dt="2023-08-30T12:37:30.436" v="324" actId="478"/>
          <ac:spMkLst>
            <pc:docMk/>
            <pc:sldMk cId="3569117900" sldId="2147476791"/>
            <ac:spMk id="23" creationId="{16B04FF1-2F25-4909-D9E2-4326A8C54D57}"/>
          </ac:spMkLst>
        </pc:spChg>
        <pc:spChg chg="add del mod">
          <ac:chgData name="IGOR Lopez Orbe" userId="ec57996b-2ae4-4e7e-b3b5-41577a83a4a5" providerId="ADAL" clId="{B6A46346-7582-482D-A7AF-99955F9C36C1}" dt="2023-08-30T12:37:30.436" v="324" actId="478"/>
          <ac:spMkLst>
            <pc:docMk/>
            <pc:sldMk cId="3569117900" sldId="2147476791"/>
            <ac:spMk id="26" creationId="{D327B8BE-B1B9-4FF1-6CC5-9C37EA5DD8AE}"/>
          </ac:spMkLst>
        </pc:spChg>
        <pc:spChg chg="add del mod">
          <ac:chgData name="IGOR Lopez Orbe" userId="ec57996b-2ae4-4e7e-b3b5-41577a83a4a5" providerId="ADAL" clId="{B6A46346-7582-482D-A7AF-99955F9C36C1}" dt="2023-08-30T12:37:30.436" v="324" actId="478"/>
          <ac:spMkLst>
            <pc:docMk/>
            <pc:sldMk cId="3569117900" sldId="2147476791"/>
            <ac:spMk id="27" creationId="{CB8EEF02-0172-8E97-77EF-C5581D02FAA5}"/>
          </ac:spMkLst>
        </pc:spChg>
        <pc:spChg chg="add del mod">
          <ac:chgData name="IGOR Lopez Orbe" userId="ec57996b-2ae4-4e7e-b3b5-41577a83a4a5" providerId="ADAL" clId="{B6A46346-7582-482D-A7AF-99955F9C36C1}" dt="2023-08-30T12:37:30.436" v="324" actId="478"/>
          <ac:spMkLst>
            <pc:docMk/>
            <pc:sldMk cId="3569117900" sldId="2147476791"/>
            <ac:spMk id="28" creationId="{378CB433-2590-D481-17D8-BCBE065E7306}"/>
          </ac:spMkLst>
        </pc:spChg>
        <pc:spChg chg="mod">
          <ac:chgData name="IGOR Lopez Orbe" userId="ec57996b-2ae4-4e7e-b3b5-41577a83a4a5" providerId="ADAL" clId="{B6A46346-7582-482D-A7AF-99955F9C36C1}" dt="2023-08-30T12:35:39.806" v="313"/>
          <ac:spMkLst>
            <pc:docMk/>
            <pc:sldMk cId="3569117900" sldId="2147476791"/>
            <ac:spMk id="32" creationId="{CEC73724-F663-EA77-A977-BDB83BB1C8F9}"/>
          </ac:spMkLst>
        </pc:spChg>
        <pc:spChg chg="mod">
          <ac:chgData name="IGOR Lopez Orbe" userId="ec57996b-2ae4-4e7e-b3b5-41577a83a4a5" providerId="ADAL" clId="{B6A46346-7582-482D-A7AF-99955F9C36C1}" dt="2023-08-30T12:35:39.806" v="313"/>
          <ac:spMkLst>
            <pc:docMk/>
            <pc:sldMk cId="3569117900" sldId="2147476791"/>
            <ac:spMk id="33" creationId="{0B309EEC-CAF4-1878-0DB2-D98E0D0EEE04}"/>
          </ac:spMkLst>
        </pc:spChg>
        <pc:spChg chg="mod">
          <ac:chgData name="IGOR Lopez Orbe" userId="ec57996b-2ae4-4e7e-b3b5-41577a83a4a5" providerId="ADAL" clId="{B6A46346-7582-482D-A7AF-99955F9C36C1}" dt="2023-08-30T12:35:39.806" v="313"/>
          <ac:spMkLst>
            <pc:docMk/>
            <pc:sldMk cId="3569117900" sldId="2147476791"/>
            <ac:spMk id="34" creationId="{DB1357EE-F44F-7838-E09C-3E9F363A2A45}"/>
          </ac:spMkLst>
        </pc:spChg>
        <pc:spChg chg="mod">
          <ac:chgData name="IGOR Lopez Orbe" userId="ec57996b-2ae4-4e7e-b3b5-41577a83a4a5" providerId="ADAL" clId="{B6A46346-7582-482D-A7AF-99955F9C36C1}" dt="2023-08-30T12:35:39.806" v="313"/>
          <ac:spMkLst>
            <pc:docMk/>
            <pc:sldMk cId="3569117900" sldId="2147476791"/>
            <ac:spMk id="35" creationId="{DFFD2292-3ABB-D350-48FF-A305E2CD2506}"/>
          </ac:spMkLst>
        </pc:spChg>
        <pc:spChg chg="add del mod">
          <ac:chgData name="IGOR Lopez Orbe" userId="ec57996b-2ae4-4e7e-b3b5-41577a83a4a5" providerId="ADAL" clId="{B6A46346-7582-482D-A7AF-99955F9C36C1}" dt="2023-08-30T12:37:34.142" v="325" actId="478"/>
          <ac:spMkLst>
            <pc:docMk/>
            <pc:sldMk cId="3569117900" sldId="2147476791"/>
            <ac:spMk id="36" creationId="{F3040421-4A01-A106-249D-DB097E7F80B2}"/>
          </ac:spMkLst>
        </pc:spChg>
        <pc:spChg chg="add del mod">
          <ac:chgData name="IGOR Lopez Orbe" userId="ec57996b-2ae4-4e7e-b3b5-41577a83a4a5" providerId="ADAL" clId="{B6A46346-7582-482D-A7AF-99955F9C36C1}" dt="2023-08-30T12:37:30.436" v="324" actId="478"/>
          <ac:spMkLst>
            <pc:docMk/>
            <pc:sldMk cId="3569117900" sldId="2147476791"/>
            <ac:spMk id="37" creationId="{796D3CD8-8CC4-F223-A946-08681C5C6C2D}"/>
          </ac:spMkLst>
        </pc:spChg>
        <pc:spChg chg="add del mod">
          <ac:chgData name="IGOR Lopez Orbe" userId="ec57996b-2ae4-4e7e-b3b5-41577a83a4a5" providerId="ADAL" clId="{B6A46346-7582-482D-A7AF-99955F9C36C1}" dt="2023-08-30T12:37:30.436" v="324" actId="478"/>
          <ac:spMkLst>
            <pc:docMk/>
            <pc:sldMk cId="3569117900" sldId="2147476791"/>
            <ac:spMk id="38" creationId="{32AA1989-0DB4-4FB5-BFF6-8CEBF6145796}"/>
          </ac:spMkLst>
        </pc:spChg>
        <pc:spChg chg="add del mod">
          <ac:chgData name="IGOR Lopez Orbe" userId="ec57996b-2ae4-4e7e-b3b5-41577a83a4a5" providerId="ADAL" clId="{B6A46346-7582-482D-A7AF-99955F9C36C1}" dt="2023-08-30T12:37:52.326" v="331"/>
          <ac:spMkLst>
            <pc:docMk/>
            <pc:sldMk cId="3569117900" sldId="2147476791"/>
            <ac:spMk id="40" creationId="{4DE80B27-DDEA-2932-4DCF-7C527E204840}"/>
          </ac:spMkLst>
        </pc:spChg>
        <pc:spChg chg="add del mod">
          <ac:chgData name="IGOR Lopez Orbe" userId="ec57996b-2ae4-4e7e-b3b5-41577a83a4a5" providerId="ADAL" clId="{B6A46346-7582-482D-A7AF-99955F9C36C1}" dt="2023-08-30T12:37:52.326" v="331"/>
          <ac:spMkLst>
            <pc:docMk/>
            <pc:sldMk cId="3569117900" sldId="2147476791"/>
            <ac:spMk id="41" creationId="{FE910431-712C-4786-2D34-DA47CA407138}"/>
          </ac:spMkLst>
        </pc:spChg>
        <pc:spChg chg="add del mod">
          <ac:chgData name="IGOR Lopez Orbe" userId="ec57996b-2ae4-4e7e-b3b5-41577a83a4a5" providerId="ADAL" clId="{B6A46346-7582-482D-A7AF-99955F9C36C1}" dt="2023-08-30T12:37:52.326" v="331"/>
          <ac:spMkLst>
            <pc:docMk/>
            <pc:sldMk cId="3569117900" sldId="2147476791"/>
            <ac:spMk id="42" creationId="{E5FD68D9-0029-06BA-9A15-2F6906D3A29D}"/>
          </ac:spMkLst>
        </pc:spChg>
        <pc:spChg chg="add del mod">
          <ac:chgData name="IGOR Lopez Orbe" userId="ec57996b-2ae4-4e7e-b3b5-41577a83a4a5" providerId="ADAL" clId="{B6A46346-7582-482D-A7AF-99955F9C36C1}" dt="2023-08-30T12:37:52.326" v="331"/>
          <ac:spMkLst>
            <pc:docMk/>
            <pc:sldMk cId="3569117900" sldId="2147476791"/>
            <ac:spMk id="43" creationId="{186DCA40-6334-E37C-B154-EAB8C55C0665}"/>
          </ac:spMkLst>
        </pc:spChg>
        <pc:spChg chg="add del mod">
          <ac:chgData name="IGOR Lopez Orbe" userId="ec57996b-2ae4-4e7e-b3b5-41577a83a4a5" providerId="ADAL" clId="{B6A46346-7582-482D-A7AF-99955F9C36C1}" dt="2023-08-30T12:37:52.326" v="331"/>
          <ac:spMkLst>
            <pc:docMk/>
            <pc:sldMk cId="3569117900" sldId="2147476791"/>
            <ac:spMk id="44" creationId="{87F2E357-7922-29ED-1C31-BE5221E4AE30}"/>
          </ac:spMkLst>
        </pc:spChg>
        <pc:spChg chg="add del mod">
          <ac:chgData name="IGOR Lopez Orbe" userId="ec57996b-2ae4-4e7e-b3b5-41577a83a4a5" providerId="ADAL" clId="{B6A46346-7582-482D-A7AF-99955F9C36C1}" dt="2023-08-30T12:37:52.326" v="331"/>
          <ac:spMkLst>
            <pc:docMk/>
            <pc:sldMk cId="3569117900" sldId="2147476791"/>
            <ac:spMk id="45" creationId="{F6B66321-329A-EBFF-4D04-20960C6DA5CC}"/>
          </ac:spMkLst>
        </pc:spChg>
        <pc:spChg chg="add del mod">
          <ac:chgData name="IGOR Lopez Orbe" userId="ec57996b-2ae4-4e7e-b3b5-41577a83a4a5" providerId="ADAL" clId="{B6A46346-7582-482D-A7AF-99955F9C36C1}" dt="2023-08-30T12:37:52.326" v="331"/>
          <ac:spMkLst>
            <pc:docMk/>
            <pc:sldMk cId="3569117900" sldId="2147476791"/>
            <ac:spMk id="46" creationId="{AD06B69E-D1EF-8F63-E30C-9BB7A6098B95}"/>
          </ac:spMkLst>
        </pc:spChg>
        <pc:spChg chg="add del mod">
          <ac:chgData name="IGOR Lopez Orbe" userId="ec57996b-2ae4-4e7e-b3b5-41577a83a4a5" providerId="ADAL" clId="{B6A46346-7582-482D-A7AF-99955F9C36C1}" dt="2023-08-30T12:37:52.326" v="331"/>
          <ac:spMkLst>
            <pc:docMk/>
            <pc:sldMk cId="3569117900" sldId="2147476791"/>
            <ac:spMk id="47" creationId="{206686DF-F26E-2972-505F-22E83BD556E9}"/>
          </ac:spMkLst>
        </pc:spChg>
        <pc:spChg chg="add del mod">
          <ac:chgData name="IGOR Lopez Orbe" userId="ec57996b-2ae4-4e7e-b3b5-41577a83a4a5" providerId="ADAL" clId="{B6A46346-7582-482D-A7AF-99955F9C36C1}" dt="2023-08-30T12:37:52.326" v="331"/>
          <ac:spMkLst>
            <pc:docMk/>
            <pc:sldMk cId="3569117900" sldId="2147476791"/>
            <ac:spMk id="48" creationId="{9C121F36-591A-4C11-E775-4AB3E9402F97}"/>
          </ac:spMkLst>
        </pc:spChg>
        <pc:spChg chg="add del mod">
          <ac:chgData name="IGOR Lopez Orbe" userId="ec57996b-2ae4-4e7e-b3b5-41577a83a4a5" providerId="ADAL" clId="{B6A46346-7582-482D-A7AF-99955F9C36C1}" dt="2023-08-30T12:37:52.326" v="331"/>
          <ac:spMkLst>
            <pc:docMk/>
            <pc:sldMk cId="3569117900" sldId="2147476791"/>
            <ac:spMk id="49" creationId="{E1198E2D-DA47-DC6A-6E1A-6B7597A95BAF}"/>
          </ac:spMkLst>
        </pc:spChg>
        <pc:spChg chg="add del mod">
          <ac:chgData name="IGOR Lopez Orbe" userId="ec57996b-2ae4-4e7e-b3b5-41577a83a4a5" providerId="ADAL" clId="{B6A46346-7582-482D-A7AF-99955F9C36C1}" dt="2023-08-30T12:37:52.326" v="331"/>
          <ac:spMkLst>
            <pc:docMk/>
            <pc:sldMk cId="3569117900" sldId="2147476791"/>
            <ac:spMk id="50" creationId="{532B3B52-7D3E-F603-11BC-D403B510395A}"/>
          </ac:spMkLst>
        </pc:spChg>
        <pc:spChg chg="add del mod">
          <ac:chgData name="IGOR Lopez Orbe" userId="ec57996b-2ae4-4e7e-b3b5-41577a83a4a5" providerId="ADAL" clId="{B6A46346-7582-482D-A7AF-99955F9C36C1}" dt="2023-08-30T12:37:52.326" v="331"/>
          <ac:spMkLst>
            <pc:docMk/>
            <pc:sldMk cId="3569117900" sldId="2147476791"/>
            <ac:spMk id="51" creationId="{2A58606C-4634-7559-6522-2A6750BA1B24}"/>
          </ac:spMkLst>
        </pc:spChg>
        <pc:spChg chg="add del mod">
          <ac:chgData name="IGOR Lopez Orbe" userId="ec57996b-2ae4-4e7e-b3b5-41577a83a4a5" providerId="ADAL" clId="{B6A46346-7582-482D-A7AF-99955F9C36C1}" dt="2023-08-30T12:37:52.326" v="331"/>
          <ac:spMkLst>
            <pc:docMk/>
            <pc:sldMk cId="3569117900" sldId="2147476791"/>
            <ac:spMk id="52" creationId="{87B619A6-B584-329E-8702-D12BBBF92CA6}"/>
          </ac:spMkLst>
        </pc:spChg>
        <pc:spChg chg="add del mod">
          <ac:chgData name="IGOR Lopez Orbe" userId="ec57996b-2ae4-4e7e-b3b5-41577a83a4a5" providerId="ADAL" clId="{B6A46346-7582-482D-A7AF-99955F9C36C1}" dt="2023-08-30T12:37:52.326" v="331"/>
          <ac:spMkLst>
            <pc:docMk/>
            <pc:sldMk cId="3569117900" sldId="2147476791"/>
            <ac:spMk id="53" creationId="{5C4E613D-08C2-9389-FF0F-EBC1BFC614B5}"/>
          </ac:spMkLst>
        </pc:spChg>
        <pc:spChg chg="add del mod">
          <ac:chgData name="IGOR Lopez Orbe" userId="ec57996b-2ae4-4e7e-b3b5-41577a83a4a5" providerId="ADAL" clId="{B6A46346-7582-482D-A7AF-99955F9C36C1}" dt="2023-08-30T12:37:52.326" v="331"/>
          <ac:spMkLst>
            <pc:docMk/>
            <pc:sldMk cId="3569117900" sldId="2147476791"/>
            <ac:spMk id="54" creationId="{1AE3A10A-8443-723C-5FDB-046FEBF9CE02}"/>
          </ac:spMkLst>
        </pc:spChg>
        <pc:spChg chg="add del mod">
          <ac:chgData name="IGOR Lopez Orbe" userId="ec57996b-2ae4-4e7e-b3b5-41577a83a4a5" providerId="ADAL" clId="{B6A46346-7582-482D-A7AF-99955F9C36C1}" dt="2023-08-30T12:37:52.326" v="331"/>
          <ac:spMkLst>
            <pc:docMk/>
            <pc:sldMk cId="3569117900" sldId="2147476791"/>
            <ac:spMk id="55" creationId="{408F34DF-6B59-8CC1-FB01-A4CAD87F7814}"/>
          </ac:spMkLst>
        </pc:spChg>
        <pc:spChg chg="add del mod">
          <ac:chgData name="IGOR Lopez Orbe" userId="ec57996b-2ae4-4e7e-b3b5-41577a83a4a5" providerId="ADAL" clId="{B6A46346-7582-482D-A7AF-99955F9C36C1}" dt="2023-08-30T12:37:52.326" v="331"/>
          <ac:spMkLst>
            <pc:docMk/>
            <pc:sldMk cId="3569117900" sldId="2147476791"/>
            <ac:spMk id="56" creationId="{98C5E6CF-5E1A-2131-56E0-26AB14F6A0B8}"/>
          </ac:spMkLst>
        </pc:spChg>
        <pc:spChg chg="add del mod">
          <ac:chgData name="IGOR Lopez Orbe" userId="ec57996b-2ae4-4e7e-b3b5-41577a83a4a5" providerId="ADAL" clId="{B6A46346-7582-482D-A7AF-99955F9C36C1}" dt="2023-08-30T12:37:52.326" v="331"/>
          <ac:spMkLst>
            <pc:docMk/>
            <pc:sldMk cId="3569117900" sldId="2147476791"/>
            <ac:spMk id="57" creationId="{9EC659A1-B005-0617-67EB-72ED412A9B87}"/>
          </ac:spMkLst>
        </pc:spChg>
        <pc:spChg chg="add del mod">
          <ac:chgData name="IGOR Lopez Orbe" userId="ec57996b-2ae4-4e7e-b3b5-41577a83a4a5" providerId="ADAL" clId="{B6A46346-7582-482D-A7AF-99955F9C36C1}" dt="2023-08-30T12:37:52.326" v="331"/>
          <ac:spMkLst>
            <pc:docMk/>
            <pc:sldMk cId="3569117900" sldId="2147476791"/>
            <ac:spMk id="58" creationId="{54509B57-A9DC-7198-90E0-CA7E158213A0}"/>
          </ac:spMkLst>
        </pc:spChg>
        <pc:spChg chg="add del mod">
          <ac:chgData name="IGOR Lopez Orbe" userId="ec57996b-2ae4-4e7e-b3b5-41577a83a4a5" providerId="ADAL" clId="{B6A46346-7582-482D-A7AF-99955F9C36C1}" dt="2023-08-30T12:37:52.326" v="331"/>
          <ac:spMkLst>
            <pc:docMk/>
            <pc:sldMk cId="3569117900" sldId="2147476791"/>
            <ac:spMk id="59" creationId="{18D25D35-95AE-D03C-D927-B83ED366A786}"/>
          </ac:spMkLst>
        </pc:spChg>
        <pc:spChg chg="add del mod">
          <ac:chgData name="IGOR Lopez Orbe" userId="ec57996b-2ae4-4e7e-b3b5-41577a83a4a5" providerId="ADAL" clId="{B6A46346-7582-482D-A7AF-99955F9C36C1}" dt="2023-08-30T12:37:52.326" v="331"/>
          <ac:spMkLst>
            <pc:docMk/>
            <pc:sldMk cId="3569117900" sldId="2147476791"/>
            <ac:spMk id="60" creationId="{B7F72AAF-E94F-1AEF-92CD-CCE3BA04BF37}"/>
          </ac:spMkLst>
        </pc:spChg>
        <pc:spChg chg="mod">
          <ac:chgData name="IGOR Lopez Orbe" userId="ec57996b-2ae4-4e7e-b3b5-41577a83a4a5" providerId="ADAL" clId="{B6A46346-7582-482D-A7AF-99955F9C36C1}" dt="2023-08-30T12:37:38.535" v="326"/>
          <ac:spMkLst>
            <pc:docMk/>
            <pc:sldMk cId="3569117900" sldId="2147476791"/>
            <ac:spMk id="62" creationId="{CAB5AF98-57B0-7A75-FAF6-6389CAB5224F}"/>
          </ac:spMkLst>
        </pc:spChg>
        <pc:spChg chg="mod">
          <ac:chgData name="IGOR Lopez Orbe" userId="ec57996b-2ae4-4e7e-b3b5-41577a83a4a5" providerId="ADAL" clId="{B6A46346-7582-482D-A7AF-99955F9C36C1}" dt="2023-08-30T12:37:38.535" v="326"/>
          <ac:spMkLst>
            <pc:docMk/>
            <pc:sldMk cId="3569117900" sldId="2147476791"/>
            <ac:spMk id="63" creationId="{A21E7555-42B0-A698-B43F-1DFB04C582DC}"/>
          </ac:spMkLst>
        </pc:spChg>
        <pc:spChg chg="mod">
          <ac:chgData name="IGOR Lopez Orbe" userId="ec57996b-2ae4-4e7e-b3b5-41577a83a4a5" providerId="ADAL" clId="{B6A46346-7582-482D-A7AF-99955F9C36C1}" dt="2023-08-30T12:37:38.535" v="326"/>
          <ac:spMkLst>
            <pc:docMk/>
            <pc:sldMk cId="3569117900" sldId="2147476791"/>
            <ac:spMk id="64" creationId="{5E864245-8DD9-377C-8B97-EB7C0155C26F}"/>
          </ac:spMkLst>
        </pc:spChg>
        <pc:spChg chg="mod">
          <ac:chgData name="IGOR Lopez Orbe" userId="ec57996b-2ae4-4e7e-b3b5-41577a83a4a5" providerId="ADAL" clId="{B6A46346-7582-482D-A7AF-99955F9C36C1}" dt="2023-08-30T12:37:38.535" v="326"/>
          <ac:spMkLst>
            <pc:docMk/>
            <pc:sldMk cId="3569117900" sldId="2147476791"/>
            <ac:spMk id="65" creationId="{551974C6-0AF4-9111-D081-BFEB0D8C27A4}"/>
          </ac:spMkLst>
        </pc:spChg>
        <pc:spChg chg="add del mod">
          <ac:chgData name="IGOR Lopez Orbe" userId="ec57996b-2ae4-4e7e-b3b5-41577a83a4a5" providerId="ADAL" clId="{B6A46346-7582-482D-A7AF-99955F9C36C1}" dt="2023-08-30T12:37:52.326" v="331"/>
          <ac:spMkLst>
            <pc:docMk/>
            <pc:sldMk cId="3569117900" sldId="2147476791"/>
            <ac:spMk id="66" creationId="{BB767C7A-16C9-F333-6A1E-471320EC9013}"/>
          </ac:spMkLst>
        </pc:spChg>
        <pc:spChg chg="add del mod">
          <ac:chgData name="IGOR Lopez Orbe" userId="ec57996b-2ae4-4e7e-b3b5-41577a83a4a5" providerId="ADAL" clId="{B6A46346-7582-482D-A7AF-99955F9C36C1}" dt="2023-08-30T12:37:52.326" v="331"/>
          <ac:spMkLst>
            <pc:docMk/>
            <pc:sldMk cId="3569117900" sldId="2147476791"/>
            <ac:spMk id="67" creationId="{F39DC1ED-DB66-D04F-146F-49B3AE4AA90D}"/>
          </ac:spMkLst>
        </pc:spChg>
        <pc:spChg chg="add del mod">
          <ac:chgData name="IGOR Lopez Orbe" userId="ec57996b-2ae4-4e7e-b3b5-41577a83a4a5" providerId="ADAL" clId="{B6A46346-7582-482D-A7AF-99955F9C36C1}" dt="2023-08-30T12:37:52.326" v="331"/>
          <ac:spMkLst>
            <pc:docMk/>
            <pc:sldMk cId="3569117900" sldId="2147476791"/>
            <ac:spMk id="68" creationId="{02B1F7DD-C508-19B2-9F8C-25212DFB0F33}"/>
          </ac:spMkLst>
        </pc:spChg>
        <pc:grpChg chg="add del mod">
          <ac:chgData name="IGOR Lopez Orbe" userId="ec57996b-2ae4-4e7e-b3b5-41577a83a4a5" providerId="ADAL" clId="{B6A46346-7582-482D-A7AF-99955F9C36C1}" dt="2023-08-30T12:37:30.436" v="324" actId="478"/>
          <ac:grpSpMkLst>
            <pc:docMk/>
            <pc:sldMk cId="3569117900" sldId="2147476791"/>
            <ac:grpSpMk id="31" creationId="{DE32A90F-043D-2FD9-7A6D-3D50A0C21E92}"/>
          </ac:grpSpMkLst>
        </pc:grpChg>
        <pc:grpChg chg="add del mod">
          <ac:chgData name="IGOR Lopez Orbe" userId="ec57996b-2ae4-4e7e-b3b5-41577a83a4a5" providerId="ADAL" clId="{B6A46346-7582-482D-A7AF-99955F9C36C1}" dt="2023-08-30T12:37:52.326" v="331"/>
          <ac:grpSpMkLst>
            <pc:docMk/>
            <pc:sldMk cId="3569117900" sldId="2147476791"/>
            <ac:grpSpMk id="61" creationId="{4E0BADB9-74D5-7419-47D0-0FA7263810A5}"/>
          </ac:grpSpMkLst>
        </pc:grpChg>
        <pc:graphicFrameChg chg="add del mod">
          <ac:chgData name="IGOR Lopez Orbe" userId="ec57996b-2ae4-4e7e-b3b5-41577a83a4a5" providerId="ADAL" clId="{B6A46346-7582-482D-A7AF-99955F9C36C1}" dt="2023-08-30T12:35:20.952" v="307"/>
          <ac:graphicFrameMkLst>
            <pc:docMk/>
            <pc:sldMk cId="3569117900" sldId="2147476791"/>
            <ac:graphicFrameMk id="14" creationId="{A6D68F0E-A5B6-689B-3298-BA0687F1245D}"/>
          </ac:graphicFrameMkLst>
        </pc:graphicFrameChg>
        <pc:graphicFrameChg chg="add del mod">
          <ac:chgData name="IGOR Lopez Orbe" userId="ec57996b-2ae4-4e7e-b3b5-41577a83a4a5" providerId="ADAL" clId="{B6A46346-7582-482D-A7AF-99955F9C36C1}" dt="2023-08-30T12:35:20.952" v="307"/>
          <ac:graphicFrameMkLst>
            <pc:docMk/>
            <pc:sldMk cId="3569117900" sldId="2147476791"/>
            <ac:graphicFrameMk id="15" creationId="{9AB4F33B-A7F9-C384-DCA0-719B63C415CB}"/>
          </ac:graphicFrameMkLst>
        </pc:graphicFrameChg>
        <pc:graphicFrameChg chg="add del mod">
          <ac:chgData name="IGOR Lopez Orbe" userId="ec57996b-2ae4-4e7e-b3b5-41577a83a4a5" providerId="ADAL" clId="{B6A46346-7582-482D-A7AF-99955F9C36C1}" dt="2023-08-30T12:37:30.436" v="324" actId="478"/>
          <ac:graphicFrameMkLst>
            <pc:docMk/>
            <pc:sldMk cId="3569117900" sldId="2147476791"/>
            <ac:graphicFrameMk id="24" creationId="{87AC2DEF-8753-4B2F-7B20-34C80D8DBE69}"/>
          </ac:graphicFrameMkLst>
        </pc:graphicFrameChg>
        <pc:graphicFrameChg chg="add del mod">
          <ac:chgData name="IGOR Lopez Orbe" userId="ec57996b-2ae4-4e7e-b3b5-41577a83a4a5" providerId="ADAL" clId="{B6A46346-7582-482D-A7AF-99955F9C36C1}" dt="2023-08-30T12:37:30.436" v="324" actId="478"/>
          <ac:graphicFrameMkLst>
            <pc:docMk/>
            <pc:sldMk cId="3569117900" sldId="2147476791"/>
            <ac:graphicFrameMk id="25" creationId="{EB1AAD62-2BAE-64B5-B160-39F4C37B6442}"/>
          </ac:graphicFrameMkLst>
        </pc:graphicFrameChg>
        <pc:picChg chg="add del mod">
          <ac:chgData name="IGOR Lopez Orbe" userId="ec57996b-2ae4-4e7e-b3b5-41577a83a4a5" providerId="ADAL" clId="{B6A46346-7582-482D-A7AF-99955F9C36C1}" dt="2023-08-30T12:35:20.952" v="307"/>
          <ac:picMkLst>
            <pc:docMk/>
            <pc:sldMk cId="3569117900" sldId="2147476791"/>
            <ac:picMk id="19" creationId="{DF1B700B-0A1C-3E3A-8E46-14332C384726}"/>
          </ac:picMkLst>
        </pc:picChg>
        <pc:picChg chg="add del mod">
          <ac:chgData name="IGOR Lopez Orbe" userId="ec57996b-2ae4-4e7e-b3b5-41577a83a4a5" providerId="ADAL" clId="{B6A46346-7582-482D-A7AF-99955F9C36C1}" dt="2023-08-30T12:35:20.952" v="307"/>
          <ac:picMkLst>
            <pc:docMk/>
            <pc:sldMk cId="3569117900" sldId="2147476791"/>
            <ac:picMk id="20" creationId="{CD1D6811-7D1E-D6AA-760C-26C352E5A842}"/>
          </ac:picMkLst>
        </pc:picChg>
        <pc:picChg chg="add del mod">
          <ac:chgData name="IGOR Lopez Orbe" userId="ec57996b-2ae4-4e7e-b3b5-41577a83a4a5" providerId="ADAL" clId="{B6A46346-7582-482D-A7AF-99955F9C36C1}" dt="2023-08-30T12:37:30.436" v="324" actId="478"/>
          <ac:picMkLst>
            <pc:docMk/>
            <pc:sldMk cId="3569117900" sldId="2147476791"/>
            <ac:picMk id="29" creationId="{7610F3AB-F100-845F-0B8D-C44870B0CF3A}"/>
          </ac:picMkLst>
        </pc:picChg>
        <pc:picChg chg="add del mod">
          <ac:chgData name="IGOR Lopez Orbe" userId="ec57996b-2ae4-4e7e-b3b5-41577a83a4a5" providerId="ADAL" clId="{B6A46346-7582-482D-A7AF-99955F9C36C1}" dt="2023-08-30T12:37:30.436" v="324" actId="478"/>
          <ac:picMkLst>
            <pc:docMk/>
            <pc:sldMk cId="3569117900" sldId="2147476791"/>
            <ac:picMk id="30" creationId="{1CE23EEF-4C68-DC56-6A9E-C9691CA02DEB}"/>
          </ac:picMkLst>
        </pc:picChg>
        <pc:picChg chg="add del mod">
          <ac:chgData name="IGOR Lopez Orbe" userId="ec57996b-2ae4-4e7e-b3b5-41577a83a4a5" providerId="ADAL" clId="{B6A46346-7582-482D-A7AF-99955F9C36C1}" dt="2023-08-30T12:37:52.326" v="331"/>
          <ac:picMkLst>
            <pc:docMk/>
            <pc:sldMk cId="3569117900" sldId="2147476791"/>
            <ac:picMk id="39" creationId="{E21A0031-F316-6E97-AB67-B6779B0B4144}"/>
          </ac:picMkLst>
        </pc:picChg>
        <pc:picChg chg="add mod">
          <ac:chgData name="IGOR Lopez Orbe" userId="ec57996b-2ae4-4e7e-b3b5-41577a83a4a5" providerId="ADAL" clId="{B6A46346-7582-482D-A7AF-99955F9C36C1}" dt="2023-08-30T12:38:08.323" v="335" actId="1076"/>
          <ac:picMkLst>
            <pc:docMk/>
            <pc:sldMk cId="3569117900" sldId="2147476791"/>
            <ac:picMk id="69" creationId="{7681E463-B4C7-47E1-8138-8E0D2585ED94}"/>
          </ac:picMkLst>
        </pc:picChg>
      </pc:sldChg>
      <pc:sldChg chg="add del">
        <pc:chgData name="IGOR Lopez Orbe" userId="ec57996b-2ae4-4e7e-b3b5-41577a83a4a5" providerId="ADAL" clId="{B6A46346-7582-482D-A7AF-99955F9C36C1}" dt="2023-08-30T12:37:05.528" v="322"/>
        <pc:sldMkLst>
          <pc:docMk/>
          <pc:sldMk cId="1639372803" sldId="2147476828"/>
        </pc:sldMkLst>
      </pc:sldChg>
      <pc:sldChg chg="add del">
        <pc:chgData name="IGOR Lopez Orbe" userId="ec57996b-2ae4-4e7e-b3b5-41577a83a4a5" providerId="ADAL" clId="{B6A46346-7582-482D-A7AF-99955F9C36C1}" dt="2023-08-30T12:34:27.792" v="293" actId="47"/>
        <pc:sldMkLst>
          <pc:docMk/>
          <pc:sldMk cId="2049713731" sldId="2147476879"/>
        </pc:sldMkLst>
      </pc:sldChg>
      <pc:sldChg chg="addSp delSp modSp add mod ord modClrScheme chgLayout modNotes">
        <pc:chgData name="IGOR Lopez Orbe" userId="ec57996b-2ae4-4e7e-b3b5-41577a83a4a5" providerId="ADAL" clId="{B6A46346-7582-482D-A7AF-99955F9C36C1}" dt="2023-08-31T08:47:16.132" v="681" actId="14100"/>
        <pc:sldMkLst>
          <pc:docMk/>
          <pc:sldMk cId="4038617994" sldId="2147476882"/>
        </pc:sldMkLst>
        <pc:spChg chg="mod">
          <ac:chgData name="IGOR Lopez Orbe" userId="ec57996b-2ae4-4e7e-b3b5-41577a83a4a5" providerId="ADAL" clId="{B6A46346-7582-482D-A7AF-99955F9C36C1}" dt="2023-08-30T12:42:43.270" v="421" actId="1036"/>
          <ac:spMkLst>
            <pc:docMk/>
            <pc:sldMk cId="4038617994" sldId="2147476882"/>
            <ac:spMk id="11" creationId="{52A14C51-0318-BD94-33B4-A317419FAB49}"/>
          </ac:spMkLst>
        </pc:spChg>
        <pc:spChg chg="mod">
          <ac:chgData name="IGOR Lopez Orbe" userId="ec57996b-2ae4-4e7e-b3b5-41577a83a4a5" providerId="ADAL" clId="{B6A46346-7582-482D-A7AF-99955F9C36C1}" dt="2023-08-30T12:42:43.270" v="421" actId="1036"/>
          <ac:spMkLst>
            <pc:docMk/>
            <pc:sldMk cId="4038617994" sldId="2147476882"/>
            <ac:spMk id="12" creationId="{7EDA813E-5B01-2B58-9A3C-CF8002488F69}"/>
          </ac:spMkLst>
        </pc:spChg>
        <pc:spChg chg="add mod ord">
          <ac:chgData name="IGOR Lopez Orbe" userId="ec57996b-2ae4-4e7e-b3b5-41577a83a4a5" providerId="ADAL" clId="{B6A46346-7582-482D-A7AF-99955F9C36C1}" dt="2023-08-30T12:43:00.383" v="427" actId="27636"/>
          <ac:spMkLst>
            <pc:docMk/>
            <pc:sldMk cId="4038617994" sldId="2147476882"/>
            <ac:spMk id="13" creationId="{925B5B00-5C62-FA4C-FD2B-28F7C46984AE}"/>
          </ac:spMkLst>
        </pc:spChg>
        <pc:spChg chg="add del mod ord">
          <ac:chgData name="IGOR Lopez Orbe" userId="ec57996b-2ae4-4e7e-b3b5-41577a83a4a5" providerId="ADAL" clId="{B6A46346-7582-482D-A7AF-99955F9C36C1}" dt="2023-08-30T12:43:03.877" v="429" actId="478"/>
          <ac:spMkLst>
            <pc:docMk/>
            <pc:sldMk cId="4038617994" sldId="2147476882"/>
            <ac:spMk id="14" creationId="{0C23654F-48ED-F11D-5D9D-C1A4D8D3F532}"/>
          </ac:spMkLst>
        </pc:spChg>
        <pc:spChg chg="add del mod ord">
          <ac:chgData name="IGOR Lopez Orbe" userId="ec57996b-2ae4-4e7e-b3b5-41577a83a4a5" providerId="ADAL" clId="{B6A46346-7582-482D-A7AF-99955F9C36C1}" dt="2023-08-30T12:43:07.760" v="430" actId="478"/>
          <ac:spMkLst>
            <pc:docMk/>
            <pc:sldMk cId="4038617994" sldId="2147476882"/>
            <ac:spMk id="15" creationId="{3ECA751F-C727-6077-92BA-5140C0550CC0}"/>
          </ac:spMkLst>
        </pc:spChg>
        <pc:spChg chg="add mod ord">
          <ac:chgData name="IGOR Lopez Orbe" userId="ec57996b-2ae4-4e7e-b3b5-41577a83a4a5" providerId="ADAL" clId="{B6A46346-7582-482D-A7AF-99955F9C36C1}" dt="2023-08-30T12:44:52.081" v="493" actId="20577"/>
          <ac:spMkLst>
            <pc:docMk/>
            <pc:sldMk cId="4038617994" sldId="2147476882"/>
            <ac:spMk id="16" creationId="{29DE1E96-D376-4B29-F153-088461C873DB}"/>
          </ac:spMkLst>
        </pc:spChg>
        <pc:spChg chg="mod">
          <ac:chgData name="IGOR Lopez Orbe" userId="ec57996b-2ae4-4e7e-b3b5-41577a83a4a5" providerId="ADAL" clId="{B6A46346-7582-482D-A7AF-99955F9C36C1}" dt="2023-08-30T12:42:55.714" v="424" actId="1076"/>
          <ac:spMkLst>
            <pc:docMk/>
            <pc:sldMk cId="4038617994" sldId="2147476882"/>
            <ac:spMk id="17" creationId="{5B9677E9-646F-29A6-17F2-8A657BC83CEC}"/>
          </ac:spMkLst>
        </pc:spChg>
        <pc:spChg chg="del">
          <ac:chgData name="IGOR Lopez Orbe" userId="ec57996b-2ae4-4e7e-b3b5-41577a83a4a5" providerId="ADAL" clId="{B6A46346-7582-482D-A7AF-99955F9C36C1}" dt="2023-08-30T12:42:51.726" v="423" actId="478"/>
          <ac:spMkLst>
            <pc:docMk/>
            <pc:sldMk cId="4038617994" sldId="2147476882"/>
            <ac:spMk id="19" creationId="{671A9BBC-2BCB-CA73-AEE7-7194152700ED}"/>
          </ac:spMkLst>
        </pc:spChg>
        <pc:spChg chg="del">
          <ac:chgData name="IGOR Lopez Orbe" userId="ec57996b-2ae4-4e7e-b3b5-41577a83a4a5" providerId="ADAL" clId="{B6A46346-7582-482D-A7AF-99955F9C36C1}" dt="2023-08-30T12:42:51.726" v="423" actId="478"/>
          <ac:spMkLst>
            <pc:docMk/>
            <pc:sldMk cId="4038617994" sldId="2147476882"/>
            <ac:spMk id="20" creationId="{7988E678-E307-A853-070D-026EA80E79D7}"/>
          </ac:spMkLst>
        </pc:spChg>
        <pc:spChg chg="add mod ord">
          <ac:chgData name="IGOR Lopez Orbe" userId="ec57996b-2ae4-4e7e-b3b5-41577a83a4a5" providerId="ADAL" clId="{B6A46346-7582-482D-A7AF-99955F9C36C1}" dt="2023-08-30T12:43:35.696" v="447" actId="20577"/>
          <ac:spMkLst>
            <pc:docMk/>
            <pc:sldMk cId="4038617994" sldId="2147476882"/>
            <ac:spMk id="21" creationId="{9C1E2355-BCC0-C4D8-7602-A7945945F9F5}"/>
          </ac:spMkLst>
        </pc:spChg>
        <pc:spChg chg="add mod">
          <ac:chgData name="IGOR Lopez Orbe" userId="ec57996b-2ae4-4e7e-b3b5-41577a83a4a5" providerId="ADAL" clId="{B6A46346-7582-482D-A7AF-99955F9C36C1}" dt="2023-08-30T12:51:06.125" v="586"/>
          <ac:spMkLst>
            <pc:docMk/>
            <pc:sldMk cId="4038617994" sldId="2147476882"/>
            <ac:spMk id="22" creationId="{7842278E-243D-4204-741C-BE778E36E8FC}"/>
          </ac:spMkLst>
        </pc:spChg>
        <pc:spChg chg="add mod">
          <ac:chgData name="IGOR Lopez Orbe" userId="ec57996b-2ae4-4e7e-b3b5-41577a83a4a5" providerId="ADAL" clId="{B6A46346-7582-482D-A7AF-99955F9C36C1}" dt="2023-08-31T08:47:16.132" v="681" actId="14100"/>
          <ac:spMkLst>
            <pc:docMk/>
            <pc:sldMk cId="4038617994" sldId="2147476882"/>
            <ac:spMk id="23" creationId="{9C216D63-B3C1-DA0B-7A02-51007DF9C2A3}"/>
          </ac:spMkLst>
        </pc:spChg>
        <pc:spChg chg="mod">
          <ac:chgData name="IGOR Lopez Orbe" userId="ec57996b-2ae4-4e7e-b3b5-41577a83a4a5" providerId="ADAL" clId="{B6A46346-7582-482D-A7AF-99955F9C36C1}" dt="2023-08-30T12:42:46.236" v="422" actId="14100"/>
          <ac:spMkLst>
            <pc:docMk/>
            <pc:sldMk cId="4038617994" sldId="2147476882"/>
            <ac:spMk id="94" creationId="{F8AFD717-A0B7-8104-F183-2367BCFFC073}"/>
          </ac:spMkLst>
        </pc:spChg>
        <pc:grpChg chg="mod">
          <ac:chgData name="IGOR Lopez Orbe" userId="ec57996b-2ae4-4e7e-b3b5-41577a83a4a5" providerId="ADAL" clId="{B6A46346-7582-482D-A7AF-99955F9C36C1}" dt="2023-08-30T12:42:43.270" v="421" actId="1036"/>
          <ac:grpSpMkLst>
            <pc:docMk/>
            <pc:sldMk cId="4038617994" sldId="2147476882"/>
            <ac:grpSpMk id="2" creationId="{E62E4649-3E6A-EFC5-8D8E-112F8180AE8F}"/>
          </ac:grpSpMkLst>
        </pc:grpChg>
      </pc:sldChg>
      <pc:sldChg chg="addSp delSp modSp add mod modClrScheme chgLayout">
        <pc:chgData name="IGOR Lopez Orbe" userId="ec57996b-2ae4-4e7e-b3b5-41577a83a4a5" providerId="ADAL" clId="{B6A46346-7582-482D-A7AF-99955F9C36C1}" dt="2023-08-30T12:51:07.508" v="587"/>
        <pc:sldMkLst>
          <pc:docMk/>
          <pc:sldMk cId="2990209439" sldId="2147476884"/>
        </pc:sldMkLst>
        <pc:spChg chg="mod">
          <ac:chgData name="IGOR Lopez Orbe" userId="ec57996b-2ae4-4e7e-b3b5-41577a83a4a5" providerId="ADAL" clId="{B6A46346-7582-482D-A7AF-99955F9C36C1}" dt="2023-08-30T12:42:03.488" v="400" actId="1076"/>
          <ac:spMkLst>
            <pc:docMk/>
            <pc:sldMk cId="2990209439" sldId="2147476884"/>
            <ac:spMk id="3" creationId="{D48FDB91-8CA5-64C3-4D90-2368EEDE1C58}"/>
          </ac:spMkLst>
        </pc:spChg>
        <pc:spChg chg="del">
          <ac:chgData name="IGOR Lopez Orbe" userId="ec57996b-2ae4-4e7e-b3b5-41577a83a4a5" providerId="ADAL" clId="{B6A46346-7582-482D-A7AF-99955F9C36C1}" dt="2023-08-30T12:41:54.354" v="398" actId="478"/>
          <ac:spMkLst>
            <pc:docMk/>
            <pc:sldMk cId="2990209439" sldId="2147476884"/>
            <ac:spMk id="4" creationId="{C3862EF2-C37C-92A2-55AD-1F0FFE4260B0}"/>
          </ac:spMkLst>
        </pc:spChg>
        <pc:spChg chg="del">
          <ac:chgData name="IGOR Lopez Orbe" userId="ec57996b-2ae4-4e7e-b3b5-41577a83a4a5" providerId="ADAL" clId="{B6A46346-7582-482D-A7AF-99955F9C36C1}" dt="2023-08-30T12:41:54.354" v="398" actId="478"/>
          <ac:spMkLst>
            <pc:docMk/>
            <pc:sldMk cId="2990209439" sldId="2147476884"/>
            <ac:spMk id="6" creationId="{F7A4B058-4CEB-1D54-36FC-D22A89327C8E}"/>
          </ac:spMkLst>
        </pc:spChg>
        <pc:spChg chg="add mod ord">
          <ac:chgData name="IGOR Lopez Orbe" userId="ec57996b-2ae4-4e7e-b3b5-41577a83a4a5" providerId="ADAL" clId="{B6A46346-7582-482D-A7AF-99955F9C36C1}" dt="2023-08-30T12:45:16.149" v="506" actId="20577"/>
          <ac:spMkLst>
            <pc:docMk/>
            <pc:sldMk cId="2990209439" sldId="2147476884"/>
            <ac:spMk id="7" creationId="{17A00741-BB2F-2BBE-D6AA-4A7EA02D9260}"/>
          </ac:spMkLst>
        </pc:spChg>
        <pc:spChg chg="add del mod ord">
          <ac:chgData name="IGOR Lopez Orbe" userId="ec57996b-2ae4-4e7e-b3b5-41577a83a4a5" providerId="ADAL" clId="{B6A46346-7582-482D-A7AF-99955F9C36C1}" dt="2023-08-30T12:42:18.462" v="402" actId="478"/>
          <ac:spMkLst>
            <pc:docMk/>
            <pc:sldMk cId="2990209439" sldId="2147476884"/>
            <ac:spMk id="8" creationId="{83D701C7-21FF-2BCD-BC9E-85674894659C}"/>
          </ac:spMkLst>
        </pc:spChg>
        <pc:spChg chg="add del mod ord">
          <ac:chgData name="IGOR Lopez Orbe" userId="ec57996b-2ae4-4e7e-b3b5-41577a83a4a5" providerId="ADAL" clId="{B6A46346-7582-482D-A7AF-99955F9C36C1}" dt="2023-08-30T12:42:15.871" v="401" actId="478"/>
          <ac:spMkLst>
            <pc:docMk/>
            <pc:sldMk cId="2990209439" sldId="2147476884"/>
            <ac:spMk id="9" creationId="{F9498EA8-D826-2EE1-84CC-514726BF61ED}"/>
          </ac:spMkLst>
        </pc:spChg>
        <pc:spChg chg="add del mod ord">
          <ac:chgData name="IGOR Lopez Orbe" userId="ec57996b-2ae4-4e7e-b3b5-41577a83a4a5" providerId="ADAL" clId="{B6A46346-7582-482D-A7AF-99955F9C36C1}" dt="2023-08-30T12:47:09.320" v="547" actId="6549"/>
          <ac:spMkLst>
            <pc:docMk/>
            <pc:sldMk cId="2990209439" sldId="2147476884"/>
            <ac:spMk id="10" creationId="{E797AB84-1DAC-4D7B-3C45-F0BC005DCF55}"/>
          </ac:spMkLst>
        </pc:spChg>
        <pc:spChg chg="add mod ord">
          <ac:chgData name="IGOR Lopez Orbe" userId="ec57996b-2ae4-4e7e-b3b5-41577a83a4a5" providerId="ADAL" clId="{B6A46346-7582-482D-A7AF-99955F9C36C1}" dt="2023-08-30T12:45:31.027" v="531" actId="20577"/>
          <ac:spMkLst>
            <pc:docMk/>
            <pc:sldMk cId="2990209439" sldId="2147476884"/>
            <ac:spMk id="11" creationId="{C93E3284-E90E-83E6-C78F-6624B6DD7D45}"/>
          </ac:spMkLst>
        </pc:spChg>
        <pc:spChg chg="add mod">
          <ac:chgData name="IGOR Lopez Orbe" userId="ec57996b-2ae4-4e7e-b3b5-41577a83a4a5" providerId="ADAL" clId="{B6A46346-7582-482D-A7AF-99955F9C36C1}" dt="2023-08-30T12:51:07.508" v="587"/>
          <ac:spMkLst>
            <pc:docMk/>
            <pc:sldMk cId="2990209439" sldId="2147476884"/>
            <ac:spMk id="12" creationId="{F985EA54-8B60-B78C-9AB2-95D4AF6F7E09}"/>
          </ac:spMkLst>
        </pc:spChg>
        <pc:spChg chg="mod">
          <ac:chgData name="IGOR Lopez Orbe" userId="ec57996b-2ae4-4e7e-b3b5-41577a83a4a5" providerId="ADAL" clId="{B6A46346-7582-482D-A7AF-99955F9C36C1}" dt="2023-08-30T12:42:32.573" v="411" actId="14100"/>
          <ac:spMkLst>
            <pc:docMk/>
            <pc:sldMk cId="2990209439" sldId="2147476884"/>
            <ac:spMk id="21" creationId="{F8AFD717-A0B7-8104-F183-2367BCFFC073}"/>
          </ac:spMkLst>
        </pc:spChg>
        <pc:spChg chg="mod">
          <ac:chgData name="IGOR Lopez Orbe" userId="ec57996b-2ae4-4e7e-b3b5-41577a83a4a5" providerId="ADAL" clId="{B6A46346-7582-482D-A7AF-99955F9C36C1}" dt="2023-08-30T12:42:27.407" v="409" actId="1036"/>
          <ac:spMkLst>
            <pc:docMk/>
            <pc:sldMk cId="2990209439" sldId="2147476884"/>
            <ac:spMk id="37" creationId="{0B8D9234-2E1A-CCCA-2845-E1B9A3A0E39E}"/>
          </ac:spMkLst>
        </pc:spChg>
        <pc:spChg chg="mod">
          <ac:chgData name="IGOR Lopez Orbe" userId="ec57996b-2ae4-4e7e-b3b5-41577a83a4a5" providerId="ADAL" clId="{B6A46346-7582-482D-A7AF-99955F9C36C1}" dt="2023-08-30T12:42:27.407" v="409" actId="1036"/>
          <ac:spMkLst>
            <pc:docMk/>
            <pc:sldMk cId="2990209439" sldId="2147476884"/>
            <ac:spMk id="38" creationId="{8145452F-7C17-E298-A81C-20085A5E0534}"/>
          </ac:spMkLst>
        </pc:spChg>
        <pc:grpChg chg="mod">
          <ac:chgData name="IGOR Lopez Orbe" userId="ec57996b-2ae4-4e7e-b3b5-41577a83a4a5" providerId="ADAL" clId="{B6A46346-7582-482D-A7AF-99955F9C36C1}" dt="2023-08-30T12:42:27.407" v="409" actId="1036"/>
          <ac:grpSpMkLst>
            <pc:docMk/>
            <pc:sldMk cId="2990209439" sldId="2147476884"/>
            <ac:grpSpMk id="32" creationId="{D9EA917F-9950-D6B8-62EB-AD0679C669D0}"/>
          </ac:grpSpMkLst>
        </pc:grpChg>
      </pc:sldChg>
      <pc:sldChg chg="addSp delSp modSp add mod modClrScheme chgLayout">
        <pc:chgData name="IGOR Lopez Orbe" userId="ec57996b-2ae4-4e7e-b3b5-41577a83a4a5" providerId="ADAL" clId="{B6A46346-7582-482D-A7AF-99955F9C36C1}" dt="2023-08-31T08:48:17.602" v="685" actId="14100"/>
        <pc:sldMkLst>
          <pc:docMk/>
          <pc:sldMk cId="1200260248" sldId="2147476887"/>
        </pc:sldMkLst>
        <pc:spChg chg="mod">
          <ac:chgData name="IGOR Lopez Orbe" userId="ec57996b-2ae4-4e7e-b3b5-41577a83a4a5" providerId="ADAL" clId="{B6A46346-7582-482D-A7AF-99955F9C36C1}" dt="2023-08-30T12:53:27.718" v="671" actId="108"/>
          <ac:spMkLst>
            <pc:docMk/>
            <pc:sldMk cId="1200260248" sldId="2147476887"/>
            <ac:spMk id="2" creationId="{915D643F-78AD-29A5-A0FA-98A4E4C3A49B}"/>
          </ac:spMkLst>
        </pc:spChg>
        <pc:spChg chg="mod">
          <ac:chgData name="IGOR Lopez Orbe" userId="ec57996b-2ae4-4e7e-b3b5-41577a83a4a5" providerId="ADAL" clId="{B6A46346-7582-482D-A7AF-99955F9C36C1}" dt="2023-08-30T12:41:14.851" v="373" actId="1036"/>
          <ac:spMkLst>
            <pc:docMk/>
            <pc:sldMk cId="1200260248" sldId="2147476887"/>
            <ac:spMk id="3" creationId="{1E45CCEA-335F-70B6-38C8-04A61844AE87}"/>
          </ac:spMkLst>
        </pc:spChg>
        <pc:spChg chg="mod">
          <ac:chgData name="IGOR Lopez Orbe" userId="ec57996b-2ae4-4e7e-b3b5-41577a83a4a5" providerId="ADAL" clId="{B6A46346-7582-482D-A7AF-99955F9C36C1}" dt="2023-08-30T12:41:14.851" v="373" actId="1036"/>
          <ac:spMkLst>
            <pc:docMk/>
            <pc:sldMk cId="1200260248" sldId="2147476887"/>
            <ac:spMk id="4" creationId="{0A3BF071-27F5-6C69-E7A1-085854626D8F}"/>
          </ac:spMkLst>
        </pc:spChg>
        <pc:spChg chg="mod">
          <ac:chgData name="IGOR Lopez Orbe" userId="ec57996b-2ae4-4e7e-b3b5-41577a83a4a5" providerId="ADAL" clId="{B6A46346-7582-482D-A7AF-99955F9C36C1}" dt="2023-08-30T12:41:21.415" v="391" actId="1036"/>
          <ac:spMkLst>
            <pc:docMk/>
            <pc:sldMk cId="1200260248" sldId="2147476887"/>
            <ac:spMk id="5" creationId="{C3EEB144-71BA-E033-86D3-27B85B5E2D97}"/>
          </ac:spMkLst>
        </pc:spChg>
        <pc:spChg chg="mod">
          <ac:chgData name="IGOR Lopez Orbe" userId="ec57996b-2ae4-4e7e-b3b5-41577a83a4a5" providerId="ADAL" clId="{B6A46346-7582-482D-A7AF-99955F9C36C1}" dt="2023-08-30T12:41:14.851" v="373" actId="1036"/>
          <ac:spMkLst>
            <pc:docMk/>
            <pc:sldMk cId="1200260248" sldId="2147476887"/>
            <ac:spMk id="6" creationId="{C6F93FE7-500D-4817-78CF-1BC760E1FCC5}"/>
          </ac:spMkLst>
        </pc:spChg>
        <pc:spChg chg="mod">
          <ac:chgData name="IGOR Lopez Orbe" userId="ec57996b-2ae4-4e7e-b3b5-41577a83a4a5" providerId="ADAL" clId="{B6A46346-7582-482D-A7AF-99955F9C36C1}" dt="2023-08-30T12:41:21.415" v="391" actId="1036"/>
          <ac:spMkLst>
            <pc:docMk/>
            <pc:sldMk cId="1200260248" sldId="2147476887"/>
            <ac:spMk id="7" creationId="{F649A3CE-E219-A281-27D9-5B343CDE95E3}"/>
          </ac:spMkLst>
        </pc:spChg>
        <pc:spChg chg="mod">
          <ac:chgData name="IGOR Lopez Orbe" userId="ec57996b-2ae4-4e7e-b3b5-41577a83a4a5" providerId="ADAL" clId="{B6A46346-7582-482D-A7AF-99955F9C36C1}" dt="2023-08-30T12:41:14.851" v="373" actId="1036"/>
          <ac:spMkLst>
            <pc:docMk/>
            <pc:sldMk cId="1200260248" sldId="2147476887"/>
            <ac:spMk id="8" creationId="{CE410526-2908-EBEA-9E69-7E48878D0B83}"/>
          </ac:spMkLst>
        </pc:spChg>
        <pc:spChg chg="add mod ord">
          <ac:chgData name="IGOR Lopez Orbe" userId="ec57996b-2ae4-4e7e-b3b5-41577a83a4a5" providerId="ADAL" clId="{B6A46346-7582-482D-A7AF-99955F9C36C1}" dt="2023-08-30T12:51:42.692" v="628" actId="20577"/>
          <ac:spMkLst>
            <pc:docMk/>
            <pc:sldMk cId="1200260248" sldId="2147476887"/>
            <ac:spMk id="9" creationId="{90791090-0658-09C6-DF0B-B0F5C3ECFB63}"/>
          </ac:spMkLst>
        </pc:spChg>
        <pc:spChg chg="add del mod ord">
          <ac:chgData name="IGOR Lopez Orbe" userId="ec57996b-2ae4-4e7e-b3b5-41577a83a4a5" providerId="ADAL" clId="{B6A46346-7582-482D-A7AF-99955F9C36C1}" dt="2023-08-30T12:40:59.956" v="347" actId="478"/>
          <ac:spMkLst>
            <pc:docMk/>
            <pc:sldMk cId="1200260248" sldId="2147476887"/>
            <ac:spMk id="10" creationId="{5C4ED2CE-21F6-8EC1-2E19-5AC2243E9348}"/>
          </ac:spMkLst>
        </pc:spChg>
        <pc:spChg chg="mod">
          <ac:chgData name="IGOR Lopez Orbe" userId="ec57996b-2ae4-4e7e-b3b5-41577a83a4a5" providerId="ADAL" clId="{B6A46346-7582-482D-A7AF-99955F9C36C1}" dt="2023-08-30T12:41:14.851" v="373" actId="1036"/>
          <ac:spMkLst>
            <pc:docMk/>
            <pc:sldMk cId="1200260248" sldId="2147476887"/>
            <ac:spMk id="11" creationId="{133F1F9F-850F-4A84-9772-17728585BE78}"/>
          </ac:spMkLst>
        </pc:spChg>
        <pc:spChg chg="mod">
          <ac:chgData name="IGOR Lopez Orbe" userId="ec57996b-2ae4-4e7e-b3b5-41577a83a4a5" providerId="ADAL" clId="{B6A46346-7582-482D-A7AF-99955F9C36C1}" dt="2023-08-30T12:41:14.851" v="373" actId="1036"/>
          <ac:spMkLst>
            <pc:docMk/>
            <pc:sldMk cId="1200260248" sldId="2147476887"/>
            <ac:spMk id="12" creationId="{AD735B1A-502D-EFDB-73C8-9ACB3F4976DC}"/>
          </ac:spMkLst>
        </pc:spChg>
        <pc:spChg chg="add del mod ord">
          <ac:chgData name="IGOR Lopez Orbe" userId="ec57996b-2ae4-4e7e-b3b5-41577a83a4a5" providerId="ADAL" clId="{B6A46346-7582-482D-A7AF-99955F9C36C1}" dt="2023-08-30T12:41:05.648" v="350" actId="478"/>
          <ac:spMkLst>
            <pc:docMk/>
            <pc:sldMk cId="1200260248" sldId="2147476887"/>
            <ac:spMk id="13" creationId="{77D037A4-C4FA-6523-0556-6594B544E7E1}"/>
          </ac:spMkLst>
        </pc:spChg>
        <pc:spChg chg="add del mod ord">
          <ac:chgData name="IGOR Lopez Orbe" userId="ec57996b-2ae4-4e7e-b3b5-41577a83a4a5" providerId="ADAL" clId="{B6A46346-7582-482D-A7AF-99955F9C36C1}" dt="2023-08-30T12:40:56.596" v="346" actId="478"/>
          <ac:spMkLst>
            <pc:docMk/>
            <pc:sldMk cId="1200260248" sldId="2147476887"/>
            <ac:spMk id="14" creationId="{02F7CA2D-F903-5EF1-FDE4-7847B7649F6F}"/>
          </ac:spMkLst>
        </pc:spChg>
        <pc:spChg chg="add mod ord">
          <ac:chgData name="IGOR Lopez Orbe" userId="ec57996b-2ae4-4e7e-b3b5-41577a83a4a5" providerId="ADAL" clId="{B6A46346-7582-482D-A7AF-99955F9C36C1}" dt="2023-08-30T12:51:35.538" v="626" actId="20577"/>
          <ac:spMkLst>
            <pc:docMk/>
            <pc:sldMk cId="1200260248" sldId="2147476887"/>
            <ac:spMk id="15" creationId="{EE1A7991-D13F-D687-0217-4CB9056ECDB8}"/>
          </ac:spMkLst>
        </pc:spChg>
        <pc:spChg chg="add mod">
          <ac:chgData name="IGOR Lopez Orbe" userId="ec57996b-2ae4-4e7e-b3b5-41577a83a4a5" providerId="ADAL" clId="{B6A46346-7582-482D-A7AF-99955F9C36C1}" dt="2023-08-30T12:51:11.278" v="589"/>
          <ac:spMkLst>
            <pc:docMk/>
            <pc:sldMk cId="1200260248" sldId="2147476887"/>
            <ac:spMk id="16" creationId="{89ADAC62-D807-ACC8-AEBD-9E0122728494}"/>
          </ac:spMkLst>
        </pc:spChg>
        <pc:spChg chg="add mod">
          <ac:chgData name="IGOR Lopez Orbe" userId="ec57996b-2ae4-4e7e-b3b5-41577a83a4a5" providerId="ADAL" clId="{B6A46346-7582-482D-A7AF-99955F9C36C1}" dt="2023-08-31T08:48:17.602" v="685" actId="14100"/>
          <ac:spMkLst>
            <pc:docMk/>
            <pc:sldMk cId="1200260248" sldId="2147476887"/>
            <ac:spMk id="17" creationId="{19C5FE2F-AFA5-AA74-5914-0205FA8BB37E}"/>
          </ac:spMkLst>
        </pc:spChg>
        <pc:spChg chg="mod">
          <ac:chgData name="IGOR Lopez Orbe" userId="ec57996b-2ae4-4e7e-b3b5-41577a83a4a5" providerId="ADAL" clId="{B6A46346-7582-482D-A7AF-99955F9C36C1}" dt="2023-08-30T12:41:14.851" v="373" actId="1036"/>
          <ac:spMkLst>
            <pc:docMk/>
            <pc:sldMk cId="1200260248" sldId="2147476887"/>
            <ac:spMk id="89" creationId="{B8FAA3F8-2D28-D431-C634-1DB15CD54891}"/>
          </ac:spMkLst>
        </pc:spChg>
        <pc:spChg chg="mod">
          <ac:chgData name="IGOR Lopez Orbe" userId="ec57996b-2ae4-4e7e-b3b5-41577a83a4a5" providerId="ADAL" clId="{B6A46346-7582-482D-A7AF-99955F9C36C1}" dt="2023-08-30T12:41:14.851" v="373" actId="1036"/>
          <ac:spMkLst>
            <pc:docMk/>
            <pc:sldMk cId="1200260248" sldId="2147476887"/>
            <ac:spMk id="90" creationId="{82E42033-75FB-5322-38B0-03A8862D6899}"/>
          </ac:spMkLst>
        </pc:spChg>
        <pc:spChg chg="mod">
          <ac:chgData name="IGOR Lopez Orbe" userId="ec57996b-2ae4-4e7e-b3b5-41577a83a4a5" providerId="ADAL" clId="{B6A46346-7582-482D-A7AF-99955F9C36C1}" dt="2023-08-30T12:41:14.851" v="373" actId="1036"/>
          <ac:spMkLst>
            <pc:docMk/>
            <pc:sldMk cId="1200260248" sldId="2147476887"/>
            <ac:spMk id="91" creationId="{E172EFBD-28BE-F541-D737-7AF2BFC2B0B6}"/>
          </ac:spMkLst>
        </pc:spChg>
        <pc:spChg chg="mod">
          <ac:chgData name="IGOR Lopez Orbe" userId="ec57996b-2ae4-4e7e-b3b5-41577a83a4a5" providerId="ADAL" clId="{B6A46346-7582-482D-A7AF-99955F9C36C1}" dt="2023-08-30T12:41:14.851" v="373" actId="1036"/>
          <ac:spMkLst>
            <pc:docMk/>
            <pc:sldMk cId="1200260248" sldId="2147476887"/>
            <ac:spMk id="92" creationId="{2EA8A656-287D-6FF0-C90D-6071C223F26F}"/>
          </ac:spMkLst>
        </pc:spChg>
        <pc:spChg chg="mod">
          <ac:chgData name="IGOR Lopez Orbe" userId="ec57996b-2ae4-4e7e-b3b5-41577a83a4a5" providerId="ADAL" clId="{B6A46346-7582-482D-A7AF-99955F9C36C1}" dt="2023-08-30T12:41:14.851" v="373" actId="1036"/>
          <ac:spMkLst>
            <pc:docMk/>
            <pc:sldMk cId="1200260248" sldId="2147476887"/>
            <ac:spMk id="93" creationId="{562B0B34-8AD4-1AAF-17DC-BF675BD5699E}"/>
          </ac:spMkLst>
        </pc:spChg>
        <pc:spChg chg="mod">
          <ac:chgData name="IGOR Lopez Orbe" userId="ec57996b-2ae4-4e7e-b3b5-41577a83a4a5" providerId="ADAL" clId="{B6A46346-7582-482D-A7AF-99955F9C36C1}" dt="2023-08-30T12:41:14.851" v="373" actId="1036"/>
          <ac:spMkLst>
            <pc:docMk/>
            <pc:sldMk cId="1200260248" sldId="2147476887"/>
            <ac:spMk id="94" creationId="{869167FF-12DC-C985-1E51-B61C2777475B}"/>
          </ac:spMkLst>
        </pc:spChg>
        <pc:spChg chg="mod">
          <ac:chgData name="IGOR Lopez Orbe" userId="ec57996b-2ae4-4e7e-b3b5-41577a83a4a5" providerId="ADAL" clId="{B6A46346-7582-482D-A7AF-99955F9C36C1}" dt="2023-08-30T12:41:14.851" v="373" actId="1036"/>
          <ac:spMkLst>
            <pc:docMk/>
            <pc:sldMk cId="1200260248" sldId="2147476887"/>
            <ac:spMk id="95" creationId="{BE963C14-D04F-484E-B773-2BEAE21B68D1}"/>
          </ac:spMkLst>
        </pc:spChg>
        <pc:spChg chg="mod">
          <ac:chgData name="IGOR Lopez Orbe" userId="ec57996b-2ae4-4e7e-b3b5-41577a83a4a5" providerId="ADAL" clId="{B6A46346-7582-482D-A7AF-99955F9C36C1}" dt="2023-08-30T12:41:14.851" v="373" actId="1036"/>
          <ac:spMkLst>
            <pc:docMk/>
            <pc:sldMk cId="1200260248" sldId="2147476887"/>
            <ac:spMk id="96" creationId="{30ACD022-6A78-C8B0-B83F-7C89F58865FF}"/>
          </ac:spMkLst>
        </pc:spChg>
        <pc:spChg chg="mod">
          <ac:chgData name="IGOR Lopez Orbe" userId="ec57996b-2ae4-4e7e-b3b5-41577a83a4a5" providerId="ADAL" clId="{B6A46346-7582-482D-A7AF-99955F9C36C1}" dt="2023-08-30T12:41:14.851" v="373" actId="1036"/>
          <ac:spMkLst>
            <pc:docMk/>
            <pc:sldMk cId="1200260248" sldId="2147476887"/>
            <ac:spMk id="97" creationId="{92860F7F-5689-A2F2-7039-C8B13E23EF0B}"/>
          </ac:spMkLst>
        </pc:spChg>
        <pc:spChg chg="mod">
          <ac:chgData name="IGOR Lopez Orbe" userId="ec57996b-2ae4-4e7e-b3b5-41577a83a4a5" providerId="ADAL" clId="{B6A46346-7582-482D-A7AF-99955F9C36C1}" dt="2023-08-30T12:41:14.851" v="373" actId="1036"/>
          <ac:spMkLst>
            <pc:docMk/>
            <pc:sldMk cId="1200260248" sldId="2147476887"/>
            <ac:spMk id="98" creationId="{CB11B7F7-ED42-FD64-EC1D-D93E8AB40D6F}"/>
          </ac:spMkLst>
        </pc:spChg>
        <pc:spChg chg="mod">
          <ac:chgData name="IGOR Lopez Orbe" userId="ec57996b-2ae4-4e7e-b3b5-41577a83a4a5" providerId="ADAL" clId="{B6A46346-7582-482D-A7AF-99955F9C36C1}" dt="2023-08-30T12:41:14.851" v="373" actId="1036"/>
          <ac:spMkLst>
            <pc:docMk/>
            <pc:sldMk cId="1200260248" sldId="2147476887"/>
            <ac:spMk id="99" creationId="{D2320737-56E3-2EE2-3D05-AD305D57C2DB}"/>
          </ac:spMkLst>
        </pc:spChg>
        <pc:spChg chg="mod">
          <ac:chgData name="IGOR Lopez Orbe" userId="ec57996b-2ae4-4e7e-b3b5-41577a83a4a5" providerId="ADAL" clId="{B6A46346-7582-482D-A7AF-99955F9C36C1}" dt="2023-08-30T12:41:14.851" v="373" actId="1036"/>
          <ac:spMkLst>
            <pc:docMk/>
            <pc:sldMk cId="1200260248" sldId="2147476887"/>
            <ac:spMk id="100" creationId="{0AD5A67F-AB18-B9BF-E1F0-8C7D06EFA067}"/>
          </ac:spMkLst>
        </pc:spChg>
        <pc:spChg chg="mod">
          <ac:chgData name="IGOR Lopez Orbe" userId="ec57996b-2ae4-4e7e-b3b5-41577a83a4a5" providerId="ADAL" clId="{B6A46346-7582-482D-A7AF-99955F9C36C1}" dt="2023-08-30T12:41:14.851" v="373" actId="1036"/>
          <ac:spMkLst>
            <pc:docMk/>
            <pc:sldMk cId="1200260248" sldId="2147476887"/>
            <ac:spMk id="101" creationId="{7D0F1BCD-D50F-03E2-E019-753193A81650}"/>
          </ac:spMkLst>
        </pc:spChg>
        <pc:spChg chg="mod">
          <ac:chgData name="IGOR Lopez Orbe" userId="ec57996b-2ae4-4e7e-b3b5-41577a83a4a5" providerId="ADAL" clId="{B6A46346-7582-482D-A7AF-99955F9C36C1}" dt="2023-08-30T12:41:14.851" v="373" actId="1036"/>
          <ac:spMkLst>
            <pc:docMk/>
            <pc:sldMk cId="1200260248" sldId="2147476887"/>
            <ac:spMk id="102" creationId="{FAF042E9-CFB7-1216-D2C8-F5EBCA8E6815}"/>
          </ac:spMkLst>
        </pc:spChg>
        <pc:spChg chg="mod">
          <ac:chgData name="IGOR Lopez Orbe" userId="ec57996b-2ae4-4e7e-b3b5-41577a83a4a5" providerId="ADAL" clId="{B6A46346-7582-482D-A7AF-99955F9C36C1}" dt="2023-08-30T12:41:14.851" v="373" actId="1036"/>
          <ac:spMkLst>
            <pc:docMk/>
            <pc:sldMk cId="1200260248" sldId="2147476887"/>
            <ac:spMk id="103" creationId="{EF74655D-C2A0-1CF8-C09A-4097C76F22C9}"/>
          </ac:spMkLst>
        </pc:spChg>
        <pc:spChg chg="mod">
          <ac:chgData name="IGOR Lopez Orbe" userId="ec57996b-2ae4-4e7e-b3b5-41577a83a4a5" providerId="ADAL" clId="{B6A46346-7582-482D-A7AF-99955F9C36C1}" dt="2023-08-30T12:41:14.851" v="373" actId="1036"/>
          <ac:spMkLst>
            <pc:docMk/>
            <pc:sldMk cId="1200260248" sldId="2147476887"/>
            <ac:spMk id="104" creationId="{13F111DA-C382-D7BF-42C2-49BCDBE6081F}"/>
          </ac:spMkLst>
        </pc:spChg>
        <pc:spChg chg="mod">
          <ac:chgData name="IGOR Lopez Orbe" userId="ec57996b-2ae4-4e7e-b3b5-41577a83a4a5" providerId="ADAL" clId="{B6A46346-7582-482D-A7AF-99955F9C36C1}" dt="2023-08-30T12:41:14.851" v="373" actId="1036"/>
          <ac:spMkLst>
            <pc:docMk/>
            <pc:sldMk cId="1200260248" sldId="2147476887"/>
            <ac:spMk id="106" creationId="{A04B1EB8-07C4-00D6-43E9-9D96C1FC898D}"/>
          </ac:spMkLst>
        </pc:spChg>
        <pc:spChg chg="mod">
          <ac:chgData name="IGOR Lopez Orbe" userId="ec57996b-2ae4-4e7e-b3b5-41577a83a4a5" providerId="ADAL" clId="{B6A46346-7582-482D-A7AF-99955F9C36C1}" dt="2023-08-30T12:41:14.851" v="373" actId="1036"/>
          <ac:spMkLst>
            <pc:docMk/>
            <pc:sldMk cId="1200260248" sldId="2147476887"/>
            <ac:spMk id="107" creationId="{9E0E2096-39E4-52A1-9053-4F83BF34213D}"/>
          </ac:spMkLst>
        </pc:spChg>
        <pc:spChg chg="mod">
          <ac:chgData name="IGOR Lopez Orbe" userId="ec57996b-2ae4-4e7e-b3b5-41577a83a4a5" providerId="ADAL" clId="{B6A46346-7582-482D-A7AF-99955F9C36C1}" dt="2023-08-30T12:41:14.851" v="373" actId="1036"/>
          <ac:spMkLst>
            <pc:docMk/>
            <pc:sldMk cId="1200260248" sldId="2147476887"/>
            <ac:spMk id="109" creationId="{B360D5D7-FCDA-79C9-CECB-DCB42314BC92}"/>
          </ac:spMkLst>
        </pc:spChg>
        <pc:spChg chg="mod">
          <ac:chgData name="IGOR Lopez Orbe" userId="ec57996b-2ae4-4e7e-b3b5-41577a83a4a5" providerId="ADAL" clId="{B6A46346-7582-482D-A7AF-99955F9C36C1}" dt="2023-08-30T12:41:14.851" v="373" actId="1036"/>
          <ac:spMkLst>
            <pc:docMk/>
            <pc:sldMk cId="1200260248" sldId="2147476887"/>
            <ac:spMk id="110" creationId="{FA965BE0-61DC-8ABD-1830-BE53A73278AF}"/>
          </ac:spMkLst>
        </pc:spChg>
        <pc:spChg chg="mod">
          <ac:chgData name="IGOR Lopez Orbe" userId="ec57996b-2ae4-4e7e-b3b5-41577a83a4a5" providerId="ADAL" clId="{B6A46346-7582-482D-A7AF-99955F9C36C1}" dt="2023-08-30T12:41:14.851" v="373" actId="1036"/>
          <ac:spMkLst>
            <pc:docMk/>
            <pc:sldMk cId="1200260248" sldId="2147476887"/>
            <ac:spMk id="111" creationId="{DF5C63EC-4C01-7FB8-A7B2-F26267193739}"/>
          </ac:spMkLst>
        </pc:spChg>
        <pc:spChg chg="mod">
          <ac:chgData name="IGOR Lopez Orbe" userId="ec57996b-2ae4-4e7e-b3b5-41577a83a4a5" providerId="ADAL" clId="{B6A46346-7582-482D-A7AF-99955F9C36C1}" dt="2023-08-30T12:41:14.851" v="373" actId="1036"/>
          <ac:spMkLst>
            <pc:docMk/>
            <pc:sldMk cId="1200260248" sldId="2147476887"/>
            <ac:spMk id="112" creationId="{BC373B28-89B4-6C64-CA96-ADF22D6A7F41}"/>
          </ac:spMkLst>
        </pc:spChg>
        <pc:spChg chg="mod">
          <ac:chgData name="IGOR Lopez Orbe" userId="ec57996b-2ae4-4e7e-b3b5-41577a83a4a5" providerId="ADAL" clId="{B6A46346-7582-482D-A7AF-99955F9C36C1}" dt="2023-08-30T12:41:14.851" v="373" actId="1036"/>
          <ac:spMkLst>
            <pc:docMk/>
            <pc:sldMk cId="1200260248" sldId="2147476887"/>
            <ac:spMk id="113" creationId="{6A8C0118-4128-2FCC-BBE2-ABBD8E2335AE}"/>
          </ac:spMkLst>
        </pc:spChg>
        <pc:spChg chg="mod">
          <ac:chgData name="IGOR Lopez Orbe" userId="ec57996b-2ae4-4e7e-b3b5-41577a83a4a5" providerId="ADAL" clId="{B6A46346-7582-482D-A7AF-99955F9C36C1}" dt="2023-08-30T12:41:14.851" v="373" actId="1036"/>
          <ac:spMkLst>
            <pc:docMk/>
            <pc:sldMk cId="1200260248" sldId="2147476887"/>
            <ac:spMk id="114" creationId="{4403AD1E-BDFA-43A5-2180-12AD1C6E3969}"/>
          </ac:spMkLst>
        </pc:spChg>
        <pc:spChg chg="mod">
          <ac:chgData name="IGOR Lopez Orbe" userId="ec57996b-2ae4-4e7e-b3b5-41577a83a4a5" providerId="ADAL" clId="{B6A46346-7582-482D-A7AF-99955F9C36C1}" dt="2023-08-30T12:41:14.851" v="373" actId="1036"/>
          <ac:spMkLst>
            <pc:docMk/>
            <pc:sldMk cId="1200260248" sldId="2147476887"/>
            <ac:spMk id="115" creationId="{C937C49D-B443-0B5E-6D09-42F0C73F8C87}"/>
          </ac:spMkLst>
        </pc:spChg>
        <pc:spChg chg="mod">
          <ac:chgData name="IGOR Lopez Orbe" userId="ec57996b-2ae4-4e7e-b3b5-41577a83a4a5" providerId="ADAL" clId="{B6A46346-7582-482D-A7AF-99955F9C36C1}" dt="2023-08-30T12:41:14.851" v="373" actId="1036"/>
          <ac:spMkLst>
            <pc:docMk/>
            <pc:sldMk cId="1200260248" sldId="2147476887"/>
            <ac:spMk id="116" creationId="{A13FDDC2-3CD6-27CB-3C2F-C6B421CE8BD4}"/>
          </ac:spMkLst>
        </pc:spChg>
        <pc:spChg chg="mod">
          <ac:chgData name="IGOR Lopez Orbe" userId="ec57996b-2ae4-4e7e-b3b5-41577a83a4a5" providerId="ADAL" clId="{B6A46346-7582-482D-A7AF-99955F9C36C1}" dt="2023-08-30T12:41:14.851" v="373" actId="1036"/>
          <ac:spMkLst>
            <pc:docMk/>
            <pc:sldMk cId="1200260248" sldId="2147476887"/>
            <ac:spMk id="117" creationId="{280EDB60-0BAD-2D4F-9686-60EF774903B8}"/>
          </ac:spMkLst>
        </pc:spChg>
        <pc:spChg chg="mod">
          <ac:chgData name="IGOR Lopez Orbe" userId="ec57996b-2ae4-4e7e-b3b5-41577a83a4a5" providerId="ADAL" clId="{B6A46346-7582-482D-A7AF-99955F9C36C1}" dt="2023-08-30T12:41:14.851" v="373" actId="1036"/>
          <ac:spMkLst>
            <pc:docMk/>
            <pc:sldMk cId="1200260248" sldId="2147476887"/>
            <ac:spMk id="118" creationId="{99D75CA0-2ACC-2EA0-6B16-BA1F2E142CDF}"/>
          </ac:spMkLst>
        </pc:spChg>
        <pc:spChg chg="mod">
          <ac:chgData name="IGOR Lopez Orbe" userId="ec57996b-2ae4-4e7e-b3b5-41577a83a4a5" providerId="ADAL" clId="{B6A46346-7582-482D-A7AF-99955F9C36C1}" dt="2023-08-30T12:41:14.851" v="373" actId="1036"/>
          <ac:spMkLst>
            <pc:docMk/>
            <pc:sldMk cId="1200260248" sldId="2147476887"/>
            <ac:spMk id="119" creationId="{99D6883B-B669-D2DF-783B-0BF221E98939}"/>
          </ac:spMkLst>
        </pc:spChg>
        <pc:spChg chg="mod">
          <ac:chgData name="IGOR Lopez Orbe" userId="ec57996b-2ae4-4e7e-b3b5-41577a83a4a5" providerId="ADAL" clId="{B6A46346-7582-482D-A7AF-99955F9C36C1}" dt="2023-08-30T12:41:14.851" v="373" actId="1036"/>
          <ac:spMkLst>
            <pc:docMk/>
            <pc:sldMk cId="1200260248" sldId="2147476887"/>
            <ac:spMk id="120" creationId="{FACECC88-336B-A325-04A4-CECE154AA56B}"/>
          </ac:spMkLst>
        </pc:spChg>
        <pc:spChg chg="mod">
          <ac:chgData name="IGOR Lopez Orbe" userId="ec57996b-2ae4-4e7e-b3b5-41577a83a4a5" providerId="ADAL" clId="{B6A46346-7582-482D-A7AF-99955F9C36C1}" dt="2023-08-30T12:41:14.851" v="373" actId="1036"/>
          <ac:spMkLst>
            <pc:docMk/>
            <pc:sldMk cId="1200260248" sldId="2147476887"/>
            <ac:spMk id="121" creationId="{261C38AC-5EF2-77B3-9F75-D76FBA77D45A}"/>
          </ac:spMkLst>
        </pc:spChg>
        <pc:spChg chg="mod">
          <ac:chgData name="IGOR Lopez Orbe" userId="ec57996b-2ae4-4e7e-b3b5-41577a83a4a5" providerId="ADAL" clId="{B6A46346-7582-482D-A7AF-99955F9C36C1}" dt="2023-08-30T12:41:14.851" v="373" actId="1036"/>
          <ac:spMkLst>
            <pc:docMk/>
            <pc:sldMk cId="1200260248" sldId="2147476887"/>
            <ac:spMk id="122" creationId="{3E8CDC25-7749-A854-8FA1-518CE1D23B47}"/>
          </ac:spMkLst>
        </pc:spChg>
        <pc:spChg chg="mod">
          <ac:chgData name="IGOR Lopez Orbe" userId="ec57996b-2ae4-4e7e-b3b5-41577a83a4a5" providerId="ADAL" clId="{B6A46346-7582-482D-A7AF-99955F9C36C1}" dt="2023-08-30T12:41:14.851" v="373" actId="1036"/>
          <ac:spMkLst>
            <pc:docMk/>
            <pc:sldMk cId="1200260248" sldId="2147476887"/>
            <ac:spMk id="123" creationId="{35C81257-2CEC-84E9-5BF2-EC887423B064}"/>
          </ac:spMkLst>
        </pc:spChg>
        <pc:spChg chg="mod">
          <ac:chgData name="IGOR Lopez Orbe" userId="ec57996b-2ae4-4e7e-b3b5-41577a83a4a5" providerId="ADAL" clId="{B6A46346-7582-482D-A7AF-99955F9C36C1}" dt="2023-08-30T12:41:14.851" v="373" actId="1036"/>
          <ac:spMkLst>
            <pc:docMk/>
            <pc:sldMk cId="1200260248" sldId="2147476887"/>
            <ac:spMk id="124" creationId="{A4401F02-0B8F-4857-2E3E-A1BCED77F7D5}"/>
          </ac:spMkLst>
        </pc:spChg>
        <pc:spChg chg="mod">
          <ac:chgData name="IGOR Lopez Orbe" userId="ec57996b-2ae4-4e7e-b3b5-41577a83a4a5" providerId="ADAL" clId="{B6A46346-7582-482D-A7AF-99955F9C36C1}" dt="2023-08-30T12:41:14.851" v="373" actId="1036"/>
          <ac:spMkLst>
            <pc:docMk/>
            <pc:sldMk cId="1200260248" sldId="2147476887"/>
            <ac:spMk id="126" creationId="{4BB6C5CA-F3A5-0DC6-4851-383E7B6791F8}"/>
          </ac:spMkLst>
        </pc:spChg>
        <pc:spChg chg="mod">
          <ac:chgData name="IGOR Lopez Orbe" userId="ec57996b-2ae4-4e7e-b3b5-41577a83a4a5" providerId="ADAL" clId="{B6A46346-7582-482D-A7AF-99955F9C36C1}" dt="2023-08-30T12:41:14.851" v="373" actId="1036"/>
          <ac:spMkLst>
            <pc:docMk/>
            <pc:sldMk cId="1200260248" sldId="2147476887"/>
            <ac:spMk id="127" creationId="{D03293E2-DB07-398F-A96C-EE191AF46585}"/>
          </ac:spMkLst>
        </pc:spChg>
        <pc:spChg chg="mod">
          <ac:chgData name="IGOR Lopez Orbe" userId="ec57996b-2ae4-4e7e-b3b5-41577a83a4a5" providerId="ADAL" clId="{B6A46346-7582-482D-A7AF-99955F9C36C1}" dt="2023-08-30T12:41:14.851" v="373" actId="1036"/>
          <ac:spMkLst>
            <pc:docMk/>
            <pc:sldMk cId="1200260248" sldId="2147476887"/>
            <ac:spMk id="128" creationId="{CB7D67A1-F46A-8D34-D5ED-619C7667BCFD}"/>
          </ac:spMkLst>
        </pc:spChg>
        <pc:spChg chg="mod">
          <ac:chgData name="IGOR Lopez Orbe" userId="ec57996b-2ae4-4e7e-b3b5-41577a83a4a5" providerId="ADAL" clId="{B6A46346-7582-482D-A7AF-99955F9C36C1}" dt="2023-08-30T12:41:14.851" v="373" actId="1036"/>
          <ac:spMkLst>
            <pc:docMk/>
            <pc:sldMk cId="1200260248" sldId="2147476887"/>
            <ac:spMk id="129" creationId="{066A8080-FC5B-C9E9-7BFE-C7F09B921161}"/>
          </ac:spMkLst>
        </pc:spChg>
        <pc:spChg chg="mod">
          <ac:chgData name="IGOR Lopez Orbe" userId="ec57996b-2ae4-4e7e-b3b5-41577a83a4a5" providerId="ADAL" clId="{B6A46346-7582-482D-A7AF-99955F9C36C1}" dt="2023-08-30T12:41:14.851" v="373" actId="1036"/>
          <ac:spMkLst>
            <pc:docMk/>
            <pc:sldMk cId="1200260248" sldId="2147476887"/>
            <ac:spMk id="130" creationId="{21CD3512-3789-F761-D146-D6F27BB5375C}"/>
          </ac:spMkLst>
        </pc:spChg>
        <pc:spChg chg="mod">
          <ac:chgData name="IGOR Lopez Orbe" userId="ec57996b-2ae4-4e7e-b3b5-41577a83a4a5" providerId="ADAL" clId="{B6A46346-7582-482D-A7AF-99955F9C36C1}" dt="2023-08-30T12:41:14.851" v="373" actId="1036"/>
          <ac:spMkLst>
            <pc:docMk/>
            <pc:sldMk cId="1200260248" sldId="2147476887"/>
            <ac:spMk id="131" creationId="{7FD7153C-4A3D-0B6C-AADA-9FF0455C3D4E}"/>
          </ac:spMkLst>
        </pc:spChg>
        <pc:spChg chg="mod">
          <ac:chgData name="IGOR Lopez Orbe" userId="ec57996b-2ae4-4e7e-b3b5-41577a83a4a5" providerId="ADAL" clId="{B6A46346-7582-482D-A7AF-99955F9C36C1}" dt="2023-08-30T12:41:14.851" v="373" actId="1036"/>
          <ac:spMkLst>
            <pc:docMk/>
            <pc:sldMk cId="1200260248" sldId="2147476887"/>
            <ac:spMk id="132" creationId="{2432B0C2-384A-3280-8BC6-D64D5BD24A03}"/>
          </ac:spMkLst>
        </pc:spChg>
        <pc:spChg chg="mod">
          <ac:chgData name="IGOR Lopez Orbe" userId="ec57996b-2ae4-4e7e-b3b5-41577a83a4a5" providerId="ADAL" clId="{B6A46346-7582-482D-A7AF-99955F9C36C1}" dt="2023-08-30T12:41:14.851" v="373" actId="1036"/>
          <ac:spMkLst>
            <pc:docMk/>
            <pc:sldMk cId="1200260248" sldId="2147476887"/>
            <ac:spMk id="133"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34" creationId="{4F1B58F4-A79C-7974-1A0E-6138D467F0A7}"/>
          </ac:spMkLst>
        </pc:spChg>
        <pc:spChg chg="mod">
          <ac:chgData name="IGOR Lopez Orbe" userId="ec57996b-2ae4-4e7e-b3b5-41577a83a4a5" providerId="ADAL" clId="{B6A46346-7582-482D-A7AF-99955F9C36C1}" dt="2023-08-30T12:41:14.851" v="373" actId="1036"/>
          <ac:spMkLst>
            <pc:docMk/>
            <pc:sldMk cId="1200260248" sldId="2147476887"/>
            <ac:spMk id="135" creationId="{AA0678DA-5DF9-2706-4D32-2A20A92C7079}"/>
          </ac:spMkLst>
        </pc:spChg>
        <pc:spChg chg="mod">
          <ac:chgData name="IGOR Lopez Orbe" userId="ec57996b-2ae4-4e7e-b3b5-41577a83a4a5" providerId="ADAL" clId="{B6A46346-7582-482D-A7AF-99955F9C36C1}" dt="2023-08-30T12:41:14.851" v="373" actId="1036"/>
          <ac:spMkLst>
            <pc:docMk/>
            <pc:sldMk cId="1200260248" sldId="2147476887"/>
            <ac:spMk id="136" creationId="{347C3FA2-0D4B-694C-FE68-B9E7500956DD}"/>
          </ac:spMkLst>
        </pc:spChg>
        <pc:spChg chg="mod">
          <ac:chgData name="IGOR Lopez Orbe" userId="ec57996b-2ae4-4e7e-b3b5-41577a83a4a5" providerId="ADAL" clId="{B6A46346-7582-482D-A7AF-99955F9C36C1}" dt="2023-08-30T12:41:14.851" v="373" actId="1036"/>
          <ac:spMkLst>
            <pc:docMk/>
            <pc:sldMk cId="1200260248" sldId="2147476887"/>
            <ac:spMk id="137" creationId="{9AF7B4E7-C618-576C-3226-BD54EF12BF26}"/>
          </ac:spMkLst>
        </pc:spChg>
        <pc:spChg chg="mod">
          <ac:chgData name="IGOR Lopez Orbe" userId="ec57996b-2ae4-4e7e-b3b5-41577a83a4a5" providerId="ADAL" clId="{B6A46346-7582-482D-A7AF-99955F9C36C1}" dt="2023-08-30T12:41:14.851" v="373" actId="1036"/>
          <ac:spMkLst>
            <pc:docMk/>
            <pc:sldMk cId="1200260248" sldId="2147476887"/>
            <ac:spMk id="138" creationId="{94150677-6DD2-AC59-84B7-87FFE48E96CE}"/>
          </ac:spMkLst>
        </pc:spChg>
        <pc:spChg chg="mod">
          <ac:chgData name="IGOR Lopez Orbe" userId="ec57996b-2ae4-4e7e-b3b5-41577a83a4a5" providerId="ADAL" clId="{B6A46346-7582-482D-A7AF-99955F9C36C1}" dt="2023-08-30T12:41:14.851" v="373" actId="1036"/>
          <ac:spMkLst>
            <pc:docMk/>
            <pc:sldMk cId="1200260248" sldId="2147476887"/>
            <ac:spMk id="139" creationId="{DEF1E5EB-B5A5-2A15-833C-47FFE7992DC6}"/>
          </ac:spMkLst>
        </pc:spChg>
        <pc:spChg chg="mod">
          <ac:chgData name="IGOR Lopez Orbe" userId="ec57996b-2ae4-4e7e-b3b5-41577a83a4a5" providerId="ADAL" clId="{B6A46346-7582-482D-A7AF-99955F9C36C1}" dt="2023-08-30T12:41:14.851" v="373" actId="1036"/>
          <ac:spMkLst>
            <pc:docMk/>
            <pc:sldMk cId="1200260248" sldId="2147476887"/>
            <ac:spMk id="140" creationId="{4B7B086E-AD7F-E3E0-A27E-B44CA83314FC}"/>
          </ac:spMkLst>
        </pc:spChg>
        <pc:spChg chg="mod">
          <ac:chgData name="IGOR Lopez Orbe" userId="ec57996b-2ae4-4e7e-b3b5-41577a83a4a5" providerId="ADAL" clId="{B6A46346-7582-482D-A7AF-99955F9C36C1}" dt="2023-08-30T12:41:14.851" v="373" actId="1036"/>
          <ac:spMkLst>
            <pc:docMk/>
            <pc:sldMk cId="1200260248" sldId="2147476887"/>
            <ac:spMk id="141" creationId="{DD10951F-092F-B2D4-81A5-9A4EF658DD6E}"/>
          </ac:spMkLst>
        </pc:spChg>
        <pc:spChg chg="mod">
          <ac:chgData name="IGOR Lopez Orbe" userId="ec57996b-2ae4-4e7e-b3b5-41577a83a4a5" providerId="ADAL" clId="{B6A46346-7582-482D-A7AF-99955F9C36C1}" dt="2023-08-30T12:41:14.851" v="373" actId="1036"/>
          <ac:spMkLst>
            <pc:docMk/>
            <pc:sldMk cId="1200260248" sldId="2147476887"/>
            <ac:spMk id="142" creationId="{245E0BC3-05CC-4851-5731-C1BEBC79A97A}"/>
          </ac:spMkLst>
        </pc:spChg>
        <pc:spChg chg="mod">
          <ac:chgData name="IGOR Lopez Orbe" userId="ec57996b-2ae4-4e7e-b3b5-41577a83a4a5" providerId="ADAL" clId="{B6A46346-7582-482D-A7AF-99955F9C36C1}" dt="2023-08-30T12:41:14.851" v="373" actId="1036"/>
          <ac:spMkLst>
            <pc:docMk/>
            <pc:sldMk cId="1200260248" sldId="2147476887"/>
            <ac:spMk id="143" creationId="{C1C8D91F-17E1-1170-FE70-71AF11CEE6DB}"/>
          </ac:spMkLst>
        </pc:spChg>
        <pc:spChg chg="mod">
          <ac:chgData name="IGOR Lopez Orbe" userId="ec57996b-2ae4-4e7e-b3b5-41577a83a4a5" providerId="ADAL" clId="{B6A46346-7582-482D-A7AF-99955F9C36C1}" dt="2023-08-30T12:41:14.851" v="373" actId="1036"/>
          <ac:spMkLst>
            <pc:docMk/>
            <pc:sldMk cId="1200260248" sldId="2147476887"/>
            <ac:spMk id="144" creationId="{A835ED0C-91D9-0661-A30B-1301C5592BE3}"/>
          </ac:spMkLst>
        </pc:spChg>
        <pc:spChg chg="mod">
          <ac:chgData name="IGOR Lopez Orbe" userId="ec57996b-2ae4-4e7e-b3b5-41577a83a4a5" providerId="ADAL" clId="{B6A46346-7582-482D-A7AF-99955F9C36C1}" dt="2023-08-30T12:41:14.851" v="373" actId="1036"/>
          <ac:spMkLst>
            <pc:docMk/>
            <pc:sldMk cId="1200260248" sldId="2147476887"/>
            <ac:spMk id="145" creationId="{1B0C17CF-6271-2592-DF5A-84DA6F4EBD60}"/>
          </ac:spMkLst>
        </pc:spChg>
        <pc:spChg chg="mod">
          <ac:chgData name="IGOR Lopez Orbe" userId="ec57996b-2ae4-4e7e-b3b5-41577a83a4a5" providerId="ADAL" clId="{B6A46346-7582-482D-A7AF-99955F9C36C1}" dt="2023-08-30T12:41:14.851" v="373" actId="1036"/>
          <ac:spMkLst>
            <pc:docMk/>
            <pc:sldMk cId="1200260248" sldId="2147476887"/>
            <ac:spMk id="146" creationId="{98F35A6C-E7F6-4C8A-58C6-716A662439D0}"/>
          </ac:spMkLst>
        </pc:spChg>
        <pc:spChg chg="mod">
          <ac:chgData name="IGOR Lopez Orbe" userId="ec57996b-2ae4-4e7e-b3b5-41577a83a4a5" providerId="ADAL" clId="{B6A46346-7582-482D-A7AF-99955F9C36C1}" dt="2023-08-30T12:41:14.851" v="373" actId="1036"/>
          <ac:spMkLst>
            <pc:docMk/>
            <pc:sldMk cId="1200260248" sldId="2147476887"/>
            <ac:spMk id="147" creationId="{E5C583E0-509F-D7E7-8E43-69090C4231B2}"/>
          </ac:spMkLst>
        </pc:spChg>
        <pc:spChg chg="mod">
          <ac:chgData name="IGOR Lopez Orbe" userId="ec57996b-2ae4-4e7e-b3b5-41577a83a4a5" providerId="ADAL" clId="{B6A46346-7582-482D-A7AF-99955F9C36C1}" dt="2023-08-30T12:41:14.851" v="373" actId="1036"/>
          <ac:spMkLst>
            <pc:docMk/>
            <pc:sldMk cId="1200260248" sldId="2147476887"/>
            <ac:spMk id="149" creationId="{C5BA845D-605F-9A45-80E5-1D6412BA8AEE}"/>
          </ac:spMkLst>
        </pc:spChg>
        <pc:spChg chg="mod">
          <ac:chgData name="IGOR Lopez Orbe" userId="ec57996b-2ae4-4e7e-b3b5-41577a83a4a5" providerId="ADAL" clId="{B6A46346-7582-482D-A7AF-99955F9C36C1}" dt="2023-08-30T12:41:14.851" v="373" actId="1036"/>
          <ac:spMkLst>
            <pc:docMk/>
            <pc:sldMk cId="1200260248" sldId="2147476887"/>
            <ac:spMk id="150" creationId="{7E11AC82-1AF2-854F-0DA6-B90206E46517}"/>
          </ac:spMkLst>
        </pc:spChg>
        <pc:spChg chg="mod">
          <ac:chgData name="IGOR Lopez Orbe" userId="ec57996b-2ae4-4e7e-b3b5-41577a83a4a5" providerId="ADAL" clId="{B6A46346-7582-482D-A7AF-99955F9C36C1}" dt="2023-08-30T12:41:14.851" v="373" actId="1036"/>
          <ac:spMkLst>
            <pc:docMk/>
            <pc:sldMk cId="1200260248" sldId="2147476887"/>
            <ac:spMk id="151" creationId="{E1A094CB-A9C0-703C-092B-3481B34EA4B4}"/>
          </ac:spMkLst>
        </pc:spChg>
        <pc:spChg chg="mod">
          <ac:chgData name="IGOR Lopez Orbe" userId="ec57996b-2ae4-4e7e-b3b5-41577a83a4a5" providerId="ADAL" clId="{B6A46346-7582-482D-A7AF-99955F9C36C1}" dt="2023-08-30T12:41:14.851" v="373" actId="1036"/>
          <ac:spMkLst>
            <pc:docMk/>
            <pc:sldMk cId="1200260248" sldId="2147476887"/>
            <ac:spMk id="152" creationId="{AE4F6524-5D14-11FE-1AA6-0F1C4F3F6D41}"/>
          </ac:spMkLst>
        </pc:spChg>
        <pc:spChg chg="mod">
          <ac:chgData name="IGOR Lopez Orbe" userId="ec57996b-2ae4-4e7e-b3b5-41577a83a4a5" providerId="ADAL" clId="{B6A46346-7582-482D-A7AF-99955F9C36C1}" dt="2023-08-30T12:41:14.851" v="373" actId="1036"/>
          <ac:spMkLst>
            <pc:docMk/>
            <pc:sldMk cId="1200260248" sldId="2147476887"/>
            <ac:spMk id="153" creationId="{446BF378-2FC3-BA6B-AE1A-B6247C0D0860}"/>
          </ac:spMkLst>
        </pc:spChg>
        <pc:spChg chg="mod">
          <ac:chgData name="IGOR Lopez Orbe" userId="ec57996b-2ae4-4e7e-b3b5-41577a83a4a5" providerId="ADAL" clId="{B6A46346-7582-482D-A7AF-99955F9C36C1}" dt="2023-08-30T12:41:14.851" v="373" actId="1036"/>
          <ac:spMkLst>
            <pc:docMk/>
            <pc:sldMk cId="1200260248" sldId="2147476887"/>
            <ac:spMk id="154" creationId="{374B77E0-9B8D-10EC-3A52-BA134A721C7D}"/>
          </ac:spMkLst>
        </pc:spChg>
        <pc:spChg chg="mod">
          <ac:chgData name="IGOR Lopez Orbe" userId="ec57996b-2ae4-4e7e-b3b5-41577a83a4a5" providerId="ADAL" clId="{B6A46346-7582-482D-A7AF-99955F9C36C1}" dt="2023-08-30T12:41:14.851" v="373" actId="1036"/>
          <ac:spMkLst>
            <pc:docMk/>
            <pc:sldMk cId="1200260248" sldId="2147476887"/>
            <ac:spMk id="155" creationId="{262CD498-725C-38E6-AE6F-9CA7FA9D50F3}"/>
          </ac:spMkLst>
        </pc:spChg>
        <pc:spChg chg="mod">
          <ac:chgData name="IGOR Lopez Orbe" userId="ec57996b-2ae4-4e7e-b3b5-41577a83a4a5" providerId="ADAL" clId="{B6A46346-7582-482D-A7AF-99955F9C36C1}" dt="2023-08-30T12:41:14.851" v="373" actId="1036"/>
          <ac:spMkLst>
            <pc:docMk/>
            <pc:sldMk cId="1200260248" sldId="2147476887"/>
            <ac:spMk id="156" creationId="{17C53EA9-D874-CE48-01BB-D401CF1756E5}"/>
          </ac:spMkLst>
        </pc:spChg>
        <pc:spChg chg="mod">
          <ac:chgData name="IGOR Lopez Orbe" userId="ec57996b-2ae4-4e7e-b3b5-41577a83a4a5" providerId="ADAL" clId="{B6A46346-7582-482D-A7AF-99955F9C36C1}" dt="2023-08-30T12:41:14.851" v="373" actId="1036"/>
          <ac:spMkLst>
            <pc:docMk/>
            <pc:sldMk cId="1200260248" sldId="2147476887"/>
            <ac:spMk id="157" creationId="{A0C288C1-D913-C85E-2B51-874DA24FE1B2}"/>
          </ac:spMkLst>
        </pc:spChg>
        <pc:spChg chg="mod">
          <ac:chgData name="IGOR Lopez Orbe" userId="ec57996b-2ae4-4e7e-b3b5-41577a83a4a5" providerId="ADAL" clId="{B6A46346-7582-482D-A7AF-99955F9C36C1}" dt="2023-08-30T12:41:14.851" v="373" actId="1036"/>
          <ac:spMkLst>
            <pc:docMk/>
            <pc:sldMk cId="1200260248" sldId="2147476887"/>
            <ac:spMk id="158" creationId="{1D8CD88D-3703-F1A5-1318-B9861EEF29FC}"/>
          </ac:spMkLst>
        </pc:spChg>
        <pc:spChg chg="mod">
          <ac:chgData name="IGOR Lopez Orbe" userId="ec57996b-2ae4-4e7e-b3b5-41577a83a4a5" providerId="ADAL" clId="{B6A46346-7582-482D-A7AF-99955F9C36C1}" dt="2023-08-30T12:41:14.851" v="373" actId="1036"/>
          <ac:spMkLst>
            <pc:docMk/>
            <pc:sldMk cId="1200260248" sldId="2147476887"/>
            <ac:spMk id="159" creationId="{75893292-E2E8-E67F-3738-7A55929DB865}"/>
          </ac:spMkLst>
        </pc:spChg>
        <pc:spChg chg="mod">
          <ac:chgData name="IGOR Lopez Orbe" userId="ec57996b-2ae4-4e7e-b3b5-41577a83a4a5" providerId="ADAL" clId="{B6A46346-7582-482D-A7AF-99955F9C36C1}" dt="2023-08-30T12:41:14.851" v="373" actId="1036"/>
          <ac:spMkLst>
            <pc:docMk/>
            <pc:sldMk cId="1200260248" sldId="2147476887"/>
            <ac:spMk id="160" creationId="{86EAB2DF-847A-0320-BA63-44B6E7B525B8}"/>
          </ac:spMkLst>
        </pc:spChg>
        <pc:spChg chg="mod">
          <ac:chgData name="IGOR Lopez Orbe" userId="ec57996b-2ae4-4e7e-b3b5-41577a83a4a5" providerId="ADAL" clId="{B6A46346-7582-482D-A7AF-99955F9C36C1}" dt="2023-08-30T12:41:14.851" v="373" actId="1036"/>
          <ac:spMkLst>
            <pc:docMk/>
            <pc:sldMk cId="1200260248" sldId="2147476887"/>
            <ac:spMk id="161" creationId="{C2A5E8A2-7D56-7992-6E58-DE552FAD0382}"/>
          </ac:spMkLst>
        </pc:spChg>
        <pc:spChg chg="mod">
          <ac:chgData name="IGOR Lopez Orbe" userId="ec57996b-2ae4-4e7e-b3b5-41577a83a4a5" providerId="ADAL" clId="{B6A46346-7582-482D-A7AF-99955F9C36C1}" dt="2023-08-30T12:41:14.851" v="373" actId="1036"/>
          <ac:spMkLst>
            <pc:docMk/>
            <pc:sldMk cId="1200260248" sldId="2147476887"/>
            <ac:spMk id="162" creationId="{9A304350-D77F-00B7-79BA-E446062A4664}"/>
          </ac:spMkLst>
        </pc:spChg>
        <pc:spChg chg="mod">
          <ac:chgData name="IGOR Lopez Orbe" userId="ec57996b-2ae4-4e7e-b3b5-41577a83a4a5" providerId="ADAL" clId="{B6A46346-7582-482D-A7AF-99955F9C36C1}" dt="2023-08-30T12:41:14.851" v="373" actId="1036"/>
          <ac:spMkLst>
            <pc:docMk/>
            <pc:sldMk cId="1200260248" sldId="2147476887"/>
            <ac:spMk id="163" creationId="{9F63FAE3-2DDD-433D-5A97-2F5B4FFF825F}"/>
          </ac:spMkLst>
        </pc:spChg>
        <pc:spChg chg="mod">
          <ac:chgData name="IGOR Lopez Orbe" userId="ec57996b-2ae4-4e7e-b3b5-41577a83a4a5" providerId="ADAL" clId="{B6A46346-7582-482D-A7AF-99955F9C36C1}" dt="2023-08-30T12:41:14.851" v="373" actId="1036"/>
          <ac:spMkLst>
            <pc:docMk/>
            <pc:sldMk cId="1200260248" sldId="2147476887"/>
            <ac:spMk id="165"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68"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69" creationId="{A42C9483-092C-9BB5-0B99-8AB6E73479C1}"/>
          </ac:spMkLst>
        </pc:spChg>
        <pc:cxnChg chg="mod">
          <ac:chgData name="IGOR Lopez Orbe" userId="ec57996b-2ae4-4e7e-b3b5-41577a83a4a5" providerId="ADAL" clId="{B6A46346-7582-482D-A7AF-99955F9C36C1}" dt="2023-08-30T12:41:14.851" v="373" actId="1036"/>
          <ac:cxnSpMkLst>
            <pc:docMk/>
            <pc:sldMk cId="1200260248" sldId="2147476887"/>
            <ac:cxnSpMk id="73" creationId="{EA58A8B5-FB13-9B9C-A087-6AB90F418CCA}"/>
          </ac:cxnSpMkLst>
        </pc:cxnChg>
        <pc:cxnChg chg="mod">
          <ac:chgData name="IGOR Lopez Orbe" userId="ec57996b-2ae4-4e7e-b3b5-41577a83a4a5" providerId="ADAL" clId="{B6A46346-7582-482D-A7AF-99955F9C36C1}" dt="2023-08-30T12:41:14.851" v="373" actId="1036"/>
          <ac:cxnSpMkLst>
            <pc:docMk/>
            <pc:sldMk cId="1200260248" sldId="2147476887"/>
            <ac:cxnSpMk id="74" creationId="{84B83CD4-D638-B44F-12AD-0B1344746E6C}"/>
          </ac:cxnSpMkLst>
        </pc:cxnChg>
        <pc:cxnChg chg="mod">
          <ac:chgData name="IGOR Lopez Orbe" userId="ec57996b-2ae4-4e7e-b3b5-41577a83a4a5" providerId="ADAL" clId="{B6A46346-7582-482D-A7AF-99955F9C36C1}" dt="2023-08-30T12:41:14.851" v="373" actId="1036"/>
          <ac:cxnSpMkLst>
            <pc:docMk/>
            <pc:sldMk cId="1200260248" sldId="2147476887"/>
            <ac:cxnSpMk id="75" creationId="{6978DDF7-D91E-2D0F-7F7C-F5674235E26E}"/>
          </ac:cxnSpMkLst>
        </pc:cxnChg>
        <pc:cxnChg chg="mod">
          <ac:chgData name="IGOR Lopez Orbe" userId="ec57996b-2ae4-4e7e-b3b5-41577a83a4a5" providerId="ADAL" clId="{B6A46346-7582-482D-A7AF-99955F9C36C1}" dt="2023-08-30T12:41:14.851" v="373" actId="1036"/>
          <ac:cxnSpMkLst>
            <pc:docMk/>
            <pc:sldMk cId="1200260248" sldId="2147476887"/>
            <ac:cxnSpMk id="76" creationId="{A97107EC-22AC-3DCF-20AA-2263A4C62409}"/>
          </ac:cxnSpMkLst>
        </pc:cxnChg>
        <pc:cxnChg chg="mod">
          <ac:chgData name="IGOR Lopez Orbe" userId="ec57996b-2ae4-4e7e-b3b5-41577a83a4a5" providerId="ADAL" clId="{B6A46346-7582-482D-A7AF-99955F9C36C1}" dt="2023-08-30T12:41:14.851" v="373" actId="1036"/>
          <ac:cxnSpMkLst>
            <pc:docMk/>
            <pc:sldMk cId="1200260248" sldId="2147476887"/>
            <ac:cxnSpMk id="77" creationId="{24A563E5-3382-9D67-4592-1097D6684D2D}"/>
          </ac:cxnSpMkLst>
        </pc:cxnChg>
        <pc:cxnChg chg="mod">
          <ac:chgData name="IGOR Lopez Orbe" userId="ec57996b-2ae4-4e7e-b3b5-41577a83a4a5" providerId="ADAL" clId="{B6A46346-7582-482D-A7AF-99955F9C36C1}" dt="2023-08-30T12:41:14.851" v="373" actId="1036"/>
          <ac:cxnSpMkLst>
            <pc:docMk/>
            <pc:sldMk cId="1200260248" sldId="2147476887"/>
            <ac:cxnSpMk id="78" creationId="{828F0C4F-2E0E-273C-BFD2-2AA2D191B88F}"/>
          </ac:cxnSpMkLst>
        </pc:cxnChg>
        <pc:cxnChg chg="mod">
          <ac:chgData name="IGOR Lopez Orbe" userId="ec57996b-2ae4-4e7e-b3b5-41577a83a4a5" providerId="ADAL" clId="{B6A46346-7582-482D-A7AF-99955F9C36C1}" dt="2023-08-30T12:41:14.851" v="373" actId="1036"/>
          <ac:cxnSpMkLst>
            <pc:docMk/>
            <pc:sldMk cId="1200260248" sldId="2147476887"/>
            <ac:cxnSpMk id="79" creationId="{DCFFCD0D-D445-35A1-3077-02E09DBBA3FF}"/>
          </ac:cxnSpMkLst>
        </pc:cxnChg>
        <pc:cxnChg chg="mod">
          <ac:chgData name="IGOR Lopez Orbe" userId="ec57996b-2ae4-4e7e-b3b5-41577a83a4a5" providerId="ADAL" clId="{B6A46346-7582-482D-A7AF-99955F9C36C1}" dt="2023-08-30T12:41:14.851" v="373" actId="1036"/>
          <ac:cxnSpMkLst>
            <pc:docMk/>
            <pc:sldMk cId="1200260248" sldId="2147476887"/>
            <ac:cxnSpMk id="80" creationId="{FB13EEFB-7139-6BE9-147F-3FDB70C5D811}"/>
          </ac:cxnSpMkLst>
        </pc:cxnChg>
        <pc:cxnChg chg="mod">
          <ac:chgData name="IGOR Lopez Orbe" userId="ec57996b-2ae4-4e7e-b3b5-41577a83a4a5" providerId="ADAL" clId="{B6A46346-7582-482D-A7AF-99955F9C36C1}" dt="2023-08-30T12:41:14.851" v="373" actId="1036"/>
          <ac:cxnSpMkLst>
            <pc:docMk/>
            <pc:sldMk cId="1200260248" sldId="2147476887"/>
            <ac:cxnSpMk id="81" creationId="{B7E70497-B669-8E16-996B-77C74D0C6678}"/>
          </ac:cxnSpMkLst>
        </pc:cxnChg>
        <pc:cxnChg chg="mod">
          <ac:chgData name="IGOR Lopez Orbe" userId="ec57996b-2ae4-4e7e-b3b5-41577a83a4a5" providerId="ADAL" clId="{B6A46346-7582-482D-A7AF-99955F9C36C1}" dt="2023-08-30T12:41:14.851" v="373" actId="1036"/>
          <ac:cxnSpMkLst>
            <pc:docMk/>
            <pc:sldMk cId="1200260248" sldId="2147476887"/>
            <ac:cxnSpMk id="82" creationId="{F2062CAD-DB84-EB56-8CF9-7084B9726DBE}"/>
          </ac:cxnSpMkLst>
        </pc:cxnChg>
        <pc:cxnChg chg="mod">
          <ac:chgData name="IGOR Lopez Orbe" userId="ec57996b-2ae4-4e7e-b3b5-41577a83a4a5" providerId="ADAL" clId="{B6A46346-7582-482D-A7AF-99955F9C36C1}" dt="2023-08-30T12:41:14.851" v="373" actId="1036"/>
          <ac:cxnSpMkLst>
            <pc:docMk/>
            <pc:sldMk cId="1200260248" sldId="2147476887"/>
            <ac:cxnSpMk id="83" creationId="{7BB477CB-A898-752E-B30E-E5FA61133F0E}"/>
          </ac:cxnSpMkLst>
        </pc:cxnChg>
        <pc:cxnChg chg="mod">
          <ac:chgData name="IGOR Lopez Orbe" userId="ec57996b-2ae4-4e7e-b3b5-41577a83a4a5" providerId="ADAL" clId="{B6A46346-7582-482D-A7AF-99955F9C36C1}" dt="2023-08-30T12:41:14.851" v="373" actId="1036"/>
          <ac:cxnSpMkLst>
            <pc:docMk/>
            <pc:sldMk cId="1200260248" sldId="2147476887"/>
            <ac:cxnSpMk id="84" creationId="{2E570702-3A28-BB22-59D7-ED902A521210}"/>
          </ac:cxnSpMkLst>
        </pc:cxnChg>
        <pc:cxnChg chg="mod">
          <ac:chgData name="IGOR Lopez Orbe" userId="ec57996b-2ae4-4e7e-b3b5-41577a83a4a5" providerId="ADAL" clId="{B6A46346-7582-482D-A7AF-99955F9C36C1}" dt="2023-08-30T12:41:14.851" v="373" actId="1036"/>
          <ac:cxnSpMkLst>
            <pc:docMk/>
            <pc:sldMk cId="1200260248" sldId="2147476887"/>
            <ac:cxnSpMk id="85" creationId="{F8FAC257-8D67-7E75-0323-728A36C774E0}"/>
          </ac:cxnSpMkLst>
        </pc:cxnChg>
        <pc:cxnChg chg="mod">
          <ac:chgData name="IGOR Lopez Orbe" userId="ec57996b-2ae4-4e7e-b3b5-41577a83a4a5" providerId="ADAL" clId="{B6A46346-7582-482D-A7AF-99955F9C36C1}" dt="2023-08-30T12:41:14.851" v="373" actId="1036"/>
          <ac:cxnSpMkLst>
            <pc:docMk/>
            <pc:sldMk cId="1200260248" sldId="2147476887"/>
            <ac:cxnSpMk id="86" creationId="{A19EBD5E-A6A9-86EA-2F93-C785B5C2B80A}"/>
          </ac:cxnSpMkLst>
        </pc:cxnChg>
        <pc:cxnChg chg="mod">
          <ac:chgData name="IGOR Lopez Orbe" userId="ec57996b-2ae4-4e7e-b3b5-41577a83a4a5" providerId="ADAL" clId="{B6A46346-7582-482D-A7AF-99955F9C36C1}" dt="2023-08-30T12:41:14.851" v="373" actId="1036"/>
          <ac:cxnSpMkLst>
            <pc:docMk/>
            <pc:sldMk cId="1200260248" sldId="2147476887"/>
            <ac:cxnSpMk id="87" creationId="{682E64F5-7CB1-C30F-2F11-5A387229F526}"/>
          </ac:cxnSpMkLst>
        </pc:cxnChg>
        <pc:cxnChg chg="mod">
          <ac:chgData name="IGOR Lopez Orbe" userId="ec57996b-2ae4-4e7e-b3b5-41577a83a4a5" providerId="ADAL" clId="{B6A46346-7582-482D-A7AF-99955F9C36C1}" dt="2023-08-30T12:41:14.851" v="373" actId="1036"/>
          <ac:cxnSpMkLst>
            <pc:docMk/>
            <pc:sldMk cId="1200260248" sldId="2147476887"/>
            <ac:cxnSpMk id="88" creationId="{9B0603AA-7134-359A-57F8-631560C0751C}"/>
          </ac:cxnSpMkLst>
        </pc:cxnChg>
        <pc:cxnChg chg="mod">
          <ac:chgData name="IGOR Lopez Orbe" userId="ec57996b-2ae4-4e7e-b3b5-41577a83a4a5" providerId="ADAL" clId="{B6A46346-7582-482D-A7AF-99955F9C36C1}" dt="2023-08-30T12:41:14.851" v="373" actId="1036"/>
          <ac:cxnSpMkLst>
            <pc:docMk/>
            <pc:sldMk cId="1200260248" sldId="2147476887"/>
            <ac:cxnSpMk id="166" creationId="{A8721D46-2722-488A-CDA4-5ADEB044C086}"/>
          </ac:cxnSpMkLst>
        </pc:cxnChg>
        <pc:cxnChg chg="mod">
          <ac:chgData name="IGOR Lopez Orbe" userId="ec57996b-2ae4-4e7e-b3b5-41577a83a4a5" providerId="ADAL" clId="{B6A46346-7582-482D-A7AF-99955F9C36C1}" dt="2023-08-30T12:41:14.851" v="373" actId="1036"/>
          <ac:cxnSpMkLst>
            <pc:docMk/>
            <pc:sldMk cId="1200260248" sldId="2147476887"/>
            <ac:cxnSpMk id="167" creationId="{A8721D46-2722-488A-CDA4-5ADEB044C086}"/>
          </ac:cxnSpMkLst>
        </pc:cxnChg>
      </pc:sldChg>
      <pc:sldChg chg="addSp delSp modSp add mod">
        <pc:chgData name="IGOR Lopez Orbe" userId="ec57996b-2ae4-4e7e-b3b5-41577a83a4a5" providerId="ADAL" clId="{B6A46346-7582-482D-A7AF-99955F9C36C1}" dt="2023-08-31T10:23:25.606" v="904" actId="20577"/>
        <pc:sldMkLst>
          <pc:docMk/>
          <pc:sldMk cId="3345386147" sldId="2147476888"/>
        </pc:sldMkLst>
        <pc:spChg chg="del">
          <ac:chgData name="IGOR Lopez Orbe" userId="ec57996b-2ae4-4e7e-b3b5-41577a83a4a5" providerId="ADAL" clId="{B6A46346-7582-482D-A7AF-99955F9C36C1}" dt="2023-08-30T12:45:45.552" v="536" actId="478"/>
          <ac:spMkLst>
            <pc:docMk/>
            <pc:sldMk cId="3345386147" sldId="2147476888"/>
            <ac:spMk id="2" creationId="{73707644-FFC9-4095-8D18-A73C0768C182}"/>
          </ac:spMkLst>
        </pc:spChg>
        <pc:spChg chg="del mod">
          <ac:chgData name="IGOR Lopez Orbe" userId="ec57996b-2ae4-4e7e-b3b5-41577a83a4a5" providerId="ADAL" clId="{B6A46346-7582-482D-A7AF-99955F9C36C1}" dt="2023-08-30T12:47:56.146" v="553" actId="478"/>
          <ac:spMkLst>
            <pc:docMk/>
            <pc:sldMk cId="3345386147" sldId="2147476888"/>
            <ac:spMk id="3" creationId="{D48FDB91-8CA5-64C3-4D90-2368EEDE1C58}"/>
          </ac:spMkLst>
        </pc:spChg>
        <pc:spChg chg="add mod">
          <ac:chgData name="IGOR Lopez Orbe" userId="ec57996b-2ae4-4e7e-b3b5-41577a83a4a5" providerId="ADAL" clId="{B6A46346-7582-482D-A7AF-99955F9C36C1}" dt="2023-08-30T12:46:21.728" v="541" actId="14100"/>
          <ac:spMkLst>
            <pc:docMk/>
            <pc:sldMk cId="3345386147" sldId="2147476888"/>
            <ac:spMk id="4" creationId="{819C75AB-F416-EF04-2758-FA1EB2CB1E8D}"/>
          </ac:spMkLst>
        </pc:spChg>
        <pc:spChg chg="add mod">
          <ac:chgData name="IGOR Lopez Orbe" userId="ec57996b-2ae4-4e7e-b3b5-41577a83a4a5" providerId="ADAL" clId="{B6A46346-7582-482D-A7AF-99955F9C36C1}" dt="2023-08-30T12:48:03.363" v="554" actId="1076"/>
          <ac:spMkLst>
            <pc:docMk/>
            <pc:sldMk cId="3345386147" sldId="2147476888"/>
            <ac:spMk id="6" creationId="{C78C3FDF-EB8B-FC38-E6DB-BDE96834C9BB}"/>
          </ac:spMkLst>
        </pc:spChg>
        <pc:spChg chg="mod">
          <ac:chgData name="IGOR Lopez Orbe" userId="ec57996b-2ae4-4e7e-b3b5-41577a83a4a5" providerId="ADAL" clId="{B6A46346-7582-482D-A7AF-99955F9C36C1}" dt="2023-08-30T12:47:50.224" v="552" actId="20577"/>
          <ac:spMkLst>
            <pc:docMk/>
            <pc:sldMk cId="3345386147" sldId="2147476888"/>
            <ac:spMk id="10" creationId="{E797AB84-1DAC-4D7B-3C45-F0BC005DCF55}"/>
          </ac:spMkLst>
        </pc:spChg>
        <pc:spChg chg="add mod">
          <ac:chgData name="IGOR Lopez Orbe" userId="ec57996b-2ae4-4e7e-b3b5-41577a83a4a5" providerId="ADAL" clId="{B6A46346-7582-482D-A7AF-99955F9C36C1}" dt="2023-08-30T12:48:03.363" v="554" actId="1076"/>
          <ac:spMkLst>
            <pc:docMk/>
            <pc:sldMk cId="3345386147" sldId="2147476888"/>
            <ac:spMk id="12" creationId="{324C6EDC-75EA-4C02-B0BB-13F93328187D}"/>
          </ac:spMkLst>
        </pc:spChg>
        <pc:spChg chg="add mod">
          <ac:chgData name="IGOR Lopez Orbe" userId="ec57996b-2ae4-4e7e-b3b5-41577a83a4a5" providerId="ADAL" clId="{B6A46346-7582-482D-A7AF-99955F9C36C1}" dt="2023-08-30T12:50:50.133" v="585" actId="108"/>
          <ac:spMkLst>
            <pc:docMk/>
            <pc:sldMk cId="3345386147" sldId="2147476888"/>
            <ac:spMk id="13" creationId="{6327ECF1-8572-12C3-E5AC-2085921F1312}"/>
          </ac:spMkLst>
        </pc:spChg>
        <pc:spChg chg="add mod">
          <ac:chgData name="IGOR Lopez Orbe" userId="ec57996b-2ae4-4e7e-b3b5-41577a83a4a5" providerId="ADAL" clId="{B6A46346-7582-482D-A7AF-99955F9C36C1}" dt="2023-08-30T12:49:50.613" v="577" actId="1035"/>
          <ac:spMkLst>
            <pc:docMk/>
            <pc:sldMk cId="3345386147" sldId="2147476888"/>
            <ac:spMk id="14" creationId="{0B721EF7-804F-17E5-6CB8-7A279226CF57}"/>
          </ac:spMkLst>
        </pc:spChg>
        <pc:spChg chg="add mod">
          <ac:chgData name="IGOR Lopez Orbe" userId="ec57996b-2ae4-4e7e-b3b5-41577a83a4a5" providerId="ADAL" clId="{B6A46346-7582-482D-A7AF-99955F9C36C1}" dt="2023-08-30T12:46:30.027" v="542" actId="1076"/>
          <ac:spMkLst>
            <pc:docMk/>
            <pc:sldMk cId="3345386147" sldId="2147476888"/>
            <ac:spMk id="16" creationId="{58E74459-194B-AEA8-3F96-932812357A2B}"/>
          </ac:spMkLst>
        </pc:spChg>
        <pc:spChg chg="add mod">
          <ac:chgData name="IGOR Lopez Orbe" userId="ec57996b-2ae4-4e7e-b3b5-41577a83a4a5" providerId="ADAL" clId="{B6A46346-7582-482D-A7AF-99955F9C36C1}" dt="2023-08-30T12:49:50.613" v="577" actId="1035"/>
          <ac:spMkLst>
            <pc:docMk/>
            <pc:sldMk cId="3345386147" sldId="2147476888"/>
            <ac:spMk id="17" creationId="{4FAB5955-4501-FD38-DA6B-C97B48BC6555}"/>
          </ac:spMkLst>
        </pc:spChg>
        <pc:spChg chg="add mod">
          <ac:chgData name="IGOR Lopez Orbe" userId="ec57996b-2ae4-4e7e-b3b5-41577a83a4a5" providerId="ADAL" clId="{B6A46346-7582-482D-A7AF-99955F9C36C1}" dt="2023-08-31T10:23:25.606" v="904" actId="20577"/>
          <ac:spMkLst>
            <pc:docMk/>
            <pc:sldMk cId="3345386147" sldId="2147476888"/>
            <ac:spMk id="18" creationId="{53DBBC9E-D2ED-6672-5244-B9AF229BD42E}"/>
          </ac:spMkLst>
        </pc:spChg>
        <pc:spChg chg="add mod">
          <ac:chgData name="IGOR Lopez Orbe" userId="ec57996b-2ae4-4e7e-b3b5-41577a83a4a5" providerId="ADAL" clId="{B6A46346-7582-482D-A7AF-99955F9C36C1}" dt="2023-08-30T12:48:03.363" v="554" actId="1076"/>
          <ac:spMkLst>
            <pc:docMk/>
            <pc:sldMk cId="3345386147" sldId="2147476888"/>
            <ac:spMk id="19" creationId="{5F048308-1F9D-D14E-AE14-578FAF050204}"/>
          </ac:spMkLst>
        </pc:spChg>
        <pc:spChg chg="del">
          <ac:chgData name="IGOR Lopez Orbe" userId="ec57996b-2ae4-4e7e-b3b5-41577a83a4a5" providerId="ADAL" clId="{B6A46346-7582-482D-A7AF-99955F9C36C1}" dt="2023-08-30T12:45:44.981" v="535" actId="478"/>
          <ac:spMkLst>
            <pc:docMk/>
            <pc:sldMk cId="3345386147" sldId="2147476888"/>
            <ac:spMk id="20" creationId="{BF0BC503-4068-167B-84E3-5708192D929A}"/>
          </ac:spMkLst>
        </pc:spChg>
        <pc:spChg chg="mod">
          <ac:chgData name="IGOR Lopez Orbe" userId="ec57996b-2ae4-4e7e-b3b5-41577a83a4a5" providerId="ADAL" clId="{B6A46346-7582-482D-A7AF-99955F9C36C1}" dt="2023-08-30T12:48:03.363" v="554" actId="1076"/>
          <ac:spMkLst>
            <pc:docMk/>
            <pc:sldMk cId="3345386147" sldId="2147476888"/>
            <ac:spMk id="21" creationId="{F8AFD717-A0B7-8104-F183-2367BCFFC073}"/>
          </ac:spMkLst>
        </pc:spChg>
        <pc:spChg chg="del">
          <ac:chgData name="IGOR Lopez Orbe" userId="ec57996b-2ae4-4e7e-b3b5-41577a83a4a5" providerId="ADAL" clId="{B6A46346-7582-482D-A7AF-99955F9C36C1}" dt="2023-08-30T12:45:44.981" v="535" actId="478"/>
          <ac:spMkLst>
            <pc:docMk/>
            <pc:sldMk cId="3345386147" sldId="2147476888"/>
            <ac:spMk id="22" creationId="{AD400886-AB65-1A0A-0ED5-5250190DDEED}"/>
          </ac:spMkLst>
        </pc:spChg>
        <pc:spChg chg="del">
          <ac:chgData name="IGOR Lopez Orbe" userId="ec57996b-2ae4-4e7e-b3b5-41577a83a4a5" providerId="ADAL" clId="{B6A46346-7582-482D-A7AF-99955F9C36C1}" dt="2023-08-30T12:45:44.981" v="535" actId="478"/>
          <ac:spMkLst>
            <pc:docMk/>
            <pc:sldMk cId="3345386147" sldId="2147476888"/>
            <ac:spMk id="23" creationId="{E32823C7-133A-53D4-C689-3851288E30BC}"/>
          </ac:spMkLst>
        </pc:spChg>
        <pc:spChg chg="add mod">
          <ac:chgData name="IGOR Lopez Orbe" userId="ec57996b-2ae4-4e7e-b3b5-41577a83a4a5" providerId="ADAL" clId="{B6A46346-7582-482D-A7AF-99955F9C36C1}" dt="2023-08-30T12:49:50.613" v="577" actId="1035"/>
          <ac:spMkLst>
            <pc:docMk/>
            <pc:sldMk cId="3345386147" sldId="2147476888"/>
            <ac:spMk id="24" creationId="{2D36F0F5-18DB-1D70-8BF3-77CDED8A9062}"/>
          </ac:spMkLst>
        </pc:spChg>
        <pc:spChg chg="del">
          <ac:chgData name="IGOR Lopez Orbe" userId="ec57996b-2ae4-4e7e-b3b5-41577a83a4a5" providerId="ADAL" clId="{B6A46346-7582-482D-A7AF-99955F9C36C1}" dt="2023-08-30T12:45:44.981" v="535" actId="478"/>
          <ac:spMkLst>
            <pc:docMk/>
            <pc:sldMk cId="3345386147" sldId="2147476888"/>
            <ac:spMk id="25" creationId="{70D44E30-9424-A3E3-48F3-49852F0834F6}"/>
          </ac:spMkLst>
        </pc:spChg>
        <pc:spChg chg="del">
          <ac:chgData name="IGOR Lopez Orbe" userId="ec57996b-2ae4-4e7e-b3b5-41577a83a4a5" providerId="ADAL" clId="{B6A46346-7582-482D-A7AF-99955F9C36C1}" dt="2023-08-30T12:45:44.981" v="535" actId="478"/>
          <ac:spMkLst>
            <pc:docMk/>
            <pc:sldMk cId="3345386147" sldId="2147476888"/>
            <ac:spMk id="26" creationId="{E67ADEA6-C561-A027-E01E-C94576814843}"/>
          </ac:spMkLst>
        </pc:spChg>
        <pc:spChg chg="add mod">
          <ac:chgData name="IGOR Lopez Orbe" userId="ec57996b-2ae4-4e7e-b3b5-41577a83a4a5" providerId="ADAL" clId="{B6A46346-7582-482D-A7AF-99955F9C36C1}" dt="2023-08-30T12:50:39.628" v="581" actId="207"/>
          <ac:spMkLst>
            <pc:docMk/>
            <pc:sldMk cId="3345386147" sldId="2147476888"/>
            <ac:spMk id="27" creationId="{A0878611-0ADA-5136-0DE0-3CFC0C52DBA4}"/>
          </ac:spMkLst>
        </pc:spChg>
        <pc:spChg chg="add mod">
          <ac:chgData name="IGOR Lopez Orbe" userId="ec57996b-2ae4-4e7e-b3b5-41577a83a4a5" providerId="ADAL" clId="{B6A46346-7582-482D-A7AF-99955F9C36C1}" dt="2023-08-30T12:50:47.184" v="584" actId="108"/>
          <ac:spMkLst>
            <pc:docMk/>
            <pc:sldMk cId="3345386147" sldId="2147476888"/>
            <ac:spMk id="28" creationId="{A9F25BE8-745E-956A-F865-299EBF43D21F}"/>
          </ac:spMkLst>
        </pc:spChg>
        <pc:spChg chg="add mod ord">
          <ac:chgData name="IGOR Lopez Orbe" userId="ec57996b-2ae4-4e7e-b3b5-41577a83a4a5" providerId="ADAL" clId="{B6A46346-7582-482D-A7AF-99955F9C36C1}" dt="2023-08-30T12:48:03.363" v="554" actId="1076"/>
          <ac:spMkLst>
            <pc:docMk/>
            <pc:sldMk cId="3345386147" sldId="2147476888"/>
            <ac:spMk id="29" creationId="{6A3A1407-4081-71B8-DE93-E92D269480E3}"/>
          </ac:spMkLst>
        </pc:spChg>
        <pc:spChg chg="add mod">
          <ac:chgData name="IGOR Lopez Orbe" userId="ec57996b-2ae4-4e7e-b3b5-41577a83a4a5" providerId="ADAL" clId="{B6A46346-7582-482D-A7AF-99955F9C36C1}" dt="2023-08-30T12:49:50.613" v="577" actId="1035"/>
          <ac:spMkLst>
            <pc:docMk/>
            <pc:sldMk cId="3345386147" sldId="2147476888"/>
            <ac:spMk id="30" creationId="{7D013A9F-99F0-92FE-BC26-772CF354E7EF}"/>
          </ac:spMkLst>
        </pc:spChg>
        <pc:spChg chg="add mod">
          <ac:chgData name="IGOR Lopez Orbe" userId="ec57996b-2ae4-4e7e-b3b5-41577a83a4a5" providerId="ADAL" clId="{B6A46346-7582-482D-A7AF-99955F9C36C1}" dt="2023-08-30T12:49:50.613" v="577" actId="1035"/>
          <ac:spMkLst>
            <pc:docMk/>
            <pc:sldMk cId="3345386147" sldId="2147476888"/>
            <ac:spMk id="31" creationId="{900D92E4-0A8B-B41B-AAC3-0860503105D5}"/>
          </ac:spMkLst>
        </pc:spChg>
        <pc:spChg chg="mod">
          <ac:chgData name="IGOR Lopez Orbe" userId="ec57996b-2ae4-4e7e-b3b5-41577a83a4a5" providerId="ADAL" clId="{B6A46346-7582-482D-A7AF-99955F9C36C1}" dt="2023-08-30T12:48:03.363" v="554" actId="1076"/>
          <ac:spMkLst>
            <pc:docMk/>
            <pc:sldMk cId="3345386147" sldId="2147476888"/>
            <ac:spMk id="38" creationId="{8145452F-7C17-E298-A81C-20085A5E0534}"/>
          </ac:spMkLst>
        </pc:spChg>
        <pc:spChg chg="add mod">
          <ac:chgData name="IGOR Lopez Orbe" userId="ec57996b-2ae4-4e7e-b3b5-41577a83a4a5" providerId="ADAL" clId="{B6A46346-7582-482D-A7AF-99955F9C36C1}" dt="2023-08-30T12:47:25.403" v="549" actId="1076"/>
          <ac:spMkLst>
            <pc:docMk/>
            <pc:sldMk cId="3345386147" sldId="2147476888"/>
            <ac:spMk id="39" creationId="{C9C6F829-1801-7F65-3E59-ACBBF690471E}"/>
          </ac:spMkLst>
        </pc:spChg>
        <pc:spChg chg="add mod">
          <ac:chgData name="IGOR Lopez Orbe" userId="ec57996b-2ae4-4e7e-b3b5-41577a83a4a5" providerId="ADAL" clId="{B6A46346-7582-482D-A7AF-99955F9C36C1}" dt="2023-08-30T12:50:44.981" v="583" actId="108"/>
          <ac:spMkLst>
            <pc:docMk/>
            <pc:sldMk cId="3345386147" sldId="2147476888"/>
            <ac:spMk id="40" creationId="{5AEB008D-BAB5-A321-60C5-A90EB939317C}"/>
          </ac:spMkLst>
        </pc:spChg>
        <pc:spChg chg="add mod">
          <ac:chgData name="IGOR Lopez Orbe" userId="ec57996b-2ae4-4e7e-b3b5-41577a83a4a5" providerId="ADAL" clId="{B6A46346-7582-482D-A7AF-99955F9C36C1}" dt="2023-08-30T12:47:25.403" v="549" actId="1076"/>
          <ac:spMkLst>
            <pc:docMk/>
            <pc:sldMk cId="3345386147" sldId="2147476888"/>
            <ac:spMk id="41" creationId="{42951EDA-6309-9E21-FD84-0AE8A8D8201E}"/>
          </ac:spMkLst>
        </pc:spChg>
        <pc:spChg chg="add mod">
          <ac:chgData name="IGOR Lopez Orbe" userId="ec57996b-2ae4-4e7e-b3b5-41577a83a4a5" providerId="ADAL" clId="{B6A46346-7582-482D-A7AF-99955F9C36C1}" dt="2023-08-30T12:50:18.294" v="580" actId="14100"/>
          <ac:spMkLst>
            <pc:docMk/>
            <pc:sldMk cId="3345386147" sldId="2147476888"/>
            <ac:spMk id="42" creationId="{3164403E-310A-88E7-B3F8-7C69CBCC4504}"/>
          </ac:spMkLst>
        </pc:spChg>
        <pc:spChg chg="add mod">
          <ac:chgData name="IGOR Lopez Orbe" userId="ec57996b-2ae4-4e7e-b3b5-41577a83a4a5" providerId="ADAL" clId="{B6A46346-7582-482D-A7AF-99955F9C36C1}" dt="2023-08-30T12:51:08.875" v="588"/>
          <ac:spMkLst>
            <pc:docMk/>
            <pc:sldMk cId="3345386147" sldId="2147476888"/>
            <ac:spMk id="45" creationId="{E34414A4-277B-862D-85EA-966C6ADA651A}"/>
          </ac:spMkLst>
        </pc:spChg>
        <pc:picChg chg="add del mod">
          <ac:chgData name="IGOR Lopez Orbe" userId="ec57996b-2ae4-4e7e-b3b5-41577a83a4a5" providerId="ADAL" clId="{B6A46346-7582-482D-A7AF-99955F9C36C1}" dt="2023-08-30T12:48:38.198" v="561" actId="478"/>
          <ac:picMkLst>
            <pc:docMk/>
            <pc:sldMk cId="3345386147" sldId="2147476888"/>
            <ac:picMk id="8" creationId="{CA96EB15-B778-6EFC-2F6B-449266364DF7}"/>
          </ac:picMkLst>
        </pc:picChg>
        <pc:cxnChg chg="add mod">
          <ac:chgData name="IGOR Lopez Orbe" userId="ec57996b-2ae4-4e7e-b3b5-41577a83a4a5" providerId="ADAL" clId="{B6A46346-7582-482D-A7AF-99955F9C36C1}" dt="2023-08-30T12:49:50.613" v="577" actId="1035"/>
          <ac:cxnSpMkLst>
            <pc:docMk/>
            <pc:sldMk cId="3345386147" sldId="2147476888"/>
            <ac:cxnSpMk id="9" creationId="{9AA7909C-C159-4AA3-B163-38E8B76263FE}"/>
          </ac:cxnSpMkLst>
        </pc:cxnChg>
        <pc:cxnChg chg="add mod">
          <ac:chgData name="IGOR Lopez Orbe" userId="ec57996b-2ae4-4e7e-b3b5-41577a83a4a5" providerId="ADAL" clId="{B6A46346-7582-482D-A7AF-99955F9C36C1}" dt="2023-08-30T12:46:21.728" v="541" actId="14100"/>
          <ac:cxnSpMkLst>
            <pc:docMk/>
            <pc:sldMk cId="3345386147" sldId="2147476888"/>
            <ac:cxnSpMk id="15" creationId="{D1F00256-3063-C935-B3D6-C7225D7ADA1C}"/>
          </ac:cxnSpMkLst>
        </pc:cxnChg>
      </pc:sldChg>
      <pc:sldChg chg="delSp modSp new mod">
        <pc:chgData name="IGOR Lopez Orbe" userId="ec57996b-2ae4-4e7e-b3b5-41577a83a4a5" providerId="ADAL" clId="{B6A46346-7582-482D-A7AF-99955F9C36C1}" dt="2023-08-31T10:30:36.593" v="1199" actId="20577"/>
        <pc:sldMkLst>
          <pc:docMk/>
          <pc:sldMk cId="3608762004" sldId="2147476889"/>
        </pc:sldMkLst>
        <pc:spChg chg="del mod">
          <ac:chgData name="IGOR Lopez Orbe" userId="ec57996b-2ae4-4e7e-b3b5-41577a83a4a5" providerId="ADAL" clId="{B6A46346-7582-482D-A7AF-99955F9C36C1}" dt="2023-08-31T08:48:28.781" v="686" actId="478"/>
          <ac:spMkLst>
            <pc:docMk/>
            <pc:sldMk cId="3608762004" sldId="2147476889"/>
            <ac:spMk id="3" creationId="{99E5EBB8-A696-257B-CF05-9701FC6717FA}"/>
          </ac:spMkLst>
        </pc:spChg>
        <pc:spChg chg="mod">
          <ac:chgData name="IGOR Lopez Orbe" userId="ec57996b-2ae4-4e7e-b3b5-41577a83a4a5" providerId="ADAL" clId="{B6A46346-7582-482D-A7AF-99955F9C36C1}" dt="2023-08-30T12:53:35.283" v="675" actId="20577"/>
          <ac:spMkLst>
            <pc:docMk/>
            <pc:sldMk cId="3608762004" sldId="2147476889"/>
            <ac:spMk id="4" creationId="{1A3113F5-48EF-AAA3-AE83-BD21781B7621}"/>
          </ac:spMkLst>
        </pc:spChg>
        <pc:spChg chg="mod">
          <ac:chgData name="IGOR Lopez Orbe" userId="ec57996b-2ae4-4e7e-b3b5-41577a83a4a5" providerId="ADAL" clId="{B6A46346-7582-482D-A7AF-99955F9C36C1}" dt="2023-08-31T10:30:36.593" v="1199" actId="20577"/>
          <ac:spMkLst>
            <pc:docMk/>
            <pc:sldMk cId="3608762004" sldId="2147476889"/>
            <ac:spMk id="5" creationId="{C85813D4-19B7-5C03-EBEB-C4861D50EF5E}"/>
          </ac:spMkLst>
        </pc:spChg>
        <pc:spChg chg="mod">
          <ac:chgData name="IGOR Lopez Orbe" userId="ec57996b-2ae4-4e7e-b3b5-41577a83a4a5" providerId="ADAL" clId="{B6A46346-7582-482D-A7AF-99955F9C36C1}" dt="2023-08-30T12:52:22.371" v="635" actId="20577"/>
          <ac:spMkLst>
            <pc:docMk/>
            <pc:sldMk cId="3608762004" sldId="2147476889"/>
            <ac:spMk id="6" creationId="{9DE78456-291C-F311-8A94-B52448D5D303}"/>
          </ac:spMkLst>
        </pc:spChg>
        <pc:spChg chg="mod">
          <ac:chgData name="IGOR Lopez Orbe" userId="ec57996b-2ae4-4e7e-b3b5-41577a83a4a5" providerId="ADAL" clId="{B6A46346-7582-482D-A7AF-99955F9C36C1}" dt="2023-08-30T12:52:32.437" v="661" actId="20577"/>
          <ac:spMkLst>
            <pc:docMk/>
            <pc:sldMk cId="3608762004" sldId="2147476889"/>
            <ac:spMk id="7" creationId="{9BD58EB6-4739-BCEB-3B56-31383223A653}"/>
          </ac:spMkLst>
        </pc:spChg>
      </pc:sldChg>
      <pc:sldChg chg="addSp delSp modSp add mod ord">
        <pc:chgData name="IGOR Lopez Orbe" userId="ec57996b-2ae4-4e7e-b3b5-41577a83a4a5" providerId="ADAL" clId="{B6A46346-7582-482D-A7AF-99955F9C36C1}" dt="2023-08-31T10:40:20.962" v="2124" actId="20577"/>
        <pc:sldMkLst>
          <pc:docMk/>
          <pc:sldMk cId="4204717147" sldId="2147476890"/>
        </pc:sldMkLst>
        <pc:spChg chg="add mod">
          <ac:chgData name="IGOR Lopez Orbe" userId="ec57996b-2ae4-4e7e-b3b5-41577a83a4a5" providerId="ADAL" clId="{B6A46346-7582-482D-A7AF-99955F9C36C1}" dt="2023-08-31T10:40:20.962" v="2124" actId="20577"/>
          <ac:spMkLst>
            <pc:docMk/>
            <pc:sldMk cId="4204717147" sldId="2147476890"/>
            <ac:spMk id="3" creationId="{67226055-C3E4-331B-190A-FB6D8D72A238}"/>
          </ac:spMkLst>
        </pc:spChg>
        <pc:spChg chg="mod">
          <ac:chgData name="IGOR Lopez Orbe" userId="ec57996b-2ae4-4e7e-b3b5-41577a83a4a5" providerId="ADAL" clId="{B6A46346-7582-482D-A7AF-99955F9C36C1}" dt="2023-08-31T10:20:18.933" v="699" actId="20577"/>
          <ac:spMkLst>
            <pc:docMk/>
            <pc:sldMk cId="4204717147" sldId="2147476890"/>
            <ac:spMk id="4" creationId="{1A3113F5-48EF-AAA3-AE83-BD21781B7621}"/>
          </ac:spMkLst>
        </pc:spChg>
        <pc:spChg chg="del">
          <ac:chgData name="IGOR Lopez Orbe" userId="ec57996b-2ae4-4e7e-b3b5-41577a83a4a5" providerId="ADAL" clId="{B6A46346-7582-482D-A7AF-99955F9C36C1}" dt="2023-08-31T10:24:36.194" v="911" actId="478"/>
          <ac:spMkLst>
            <pc:docMk/>
            <pc:sldMk cId="4204717147" sldId="2147476890"/>
            <ac:spMk id="5" creationId="{C85813D4-19B7-5C03-EBEB-C4861D50EF5E}"/>
          </ac:spMkLst>
        </pc:spChg>
        <pc:spChg chg="mod">
          <ac:chgData name="IGOR Lopez Orbe" userId="ec57996b-2ae4-4e7e-b3b5-41577a83a4a5" providerId="ADAL" clId="{B6A46346-7582-482D-A7AF-99955F9C36C1}" dt="2023-08-31T10:20:28.151" v="711" actId="20577"/>
          <ac:spMkLst>
            <pc:docMk/>
            <pc:sldMk cId="4204717147" sldId="2147476890"/>
            <ac:spMk id="7" creationId="{9BD58EB6-4739-BCEB-3B56-31383223A653}"/>
          </ac:spMkLst>
        </pc:spChg>
      </pc:sldChg>
      <pc:sldMasterChg chg="delSldLayout">
        <pc:chgData name="IGOR Lopez Orbe" userId="ec57996b-2ae4-4e7e-b3b5-41577a83a4a5" providerId="ADAL" clId="{B6A46346-7582-482D-A7AF-99955F9C36C1}" dt="2023-08-30T12:34:27.792" v="293" actId="47"/>
        <pc:sldMasterMkLst>
          <pc:docMk/>
          <pc:sldMasterMk cId="1522954573" sldId="2147483648"/>
        </pc:sldMasterMkLst>
        <pc:sldLayoutChg chg="del">
          <pc:chgData name="IGOR Lopez Orbe" userId="ec57996b-2ae4-4e7e-b3b5-41577a83a4a5" providerId="ADAL" clId="{B6A46346-7582-482D-A7AF-99955F9C36C1}" dt="2023-08-30T12:34:27.792" v="293" actId="47"/>
          <pc:sldLayoutMkLst>
            <pc:docMk/>
            <pc:sldMasterMk cId="1522954573" sldId="2147483648"/>
            <pc:sldLayoutMk cId="1480699402" sldId="2147483686"/>
          </pc:sldLayoutMkLst>
        </pc:sldLayoutChg>
      </pc:sldMasterChg>
    </pc:docChg>
  </pc:docChgLst>
  <pc:docChgLst>
    <pc:chgData name="IGOR Lopez Orbe" userId="ec57996b-2ae4-4e7e-b3b5-41577a83a4a5" providerId="ADAL" clId="{2F81DCC9-9C47-470D-8EFD-541F3F912874}"/>
    <pc:docChg chg="custSel addSld modSld">
      <pc:chgData name="IGOR Lopez Orbe" userId="ec57996b-2ae4-4e7e-b3b5-41577a83a4a5" providerId="ADAL" clId="{2F81DCC9-9C47-470D-8EFD-541F3F912874}" dt="2023-10-06T09:13:38.507" v="5" actId="14100"/>
      <pc:docMkLst>
        <pc:docMk/>
      </pc:docMkLst>
      <pc:sldChg chg="addSp delSp add">
        <pc:chgData name="IGOR Lopez Orbe" userId="ec57996b-2ae4-4e7e-b3b5-41577a83a4a5" providerId="ADAL" clId="{2F81DCC9-9C47-470D-8EFD-541F3F912874}" dt="2023-10-06T09:13:27.464" v="3" actId="478"/>
        <pc:sldMkLst>
          <pc:docMk/>
          <pc:sldMk cId="234441823" sldId="2147476984"/>
        </pc:sldMkLst>
        <pc:picChg chg="add del">
          <ac:chgData name="IGOR Lopez Orbe" userId="ec57996b-2ae4-4e7e-b3b5-41577a83a4a5" providerId="ADAL" clId="{2F81DCC9-9C47-470D-8EFD-541F3F912874}" dt="2023-10-06T09:13:27.464" v="3" actId="478"/>
          <ac:picMkLst>
            <pc:docMk/>
            <pc:sldMk cId="234441823" sldId="2147476984"/>
            <ac:picMk id="1026" creationId="{589DE33D-10F1-F2FB-1B4D-02484C5CA5CD}"/>
          </ac:picMkLst>
        </pc:picChg>
      </pc:sldChg>
      <pc:sldChg chg="delSp modSp add mod">
        <pc:chgData name="IGOR Lopez Orbe" userId="ec57996b-2ae4-4e7e-b3b5-41577a83a4a5" providerId="ADAL" clId="{2F81DCC9-9C47-470D-8EFD-541F3F912874}" dt="2023-10-06T09:13:38.507" v="5" actId="14100"/>
        <pc:sldMkLst>
          <pc:docMk/>
          <pc:sldMk cId="1498887816" sldId="2147476985"/>
        </pc:sldMkLst>
        <pc:spChg chg="del">
          <ac:chgData name="IGOR Lopez Orbe" userId="ec57996b-2ae4-4e7e-b3b5-41577a83a4a5" providerId="ADAL" clId="{2F81DCC9-9C47-470D-8EFD-541F3F912874}" dt="2023-10-06T09:13:32.201" v="4" actId="478"/>
          <ac:spMkLst>
            <pc:docMk/>
            <pc:sldMk cId="1498887816" sldId="2147476985"/>
            <ac:spMk id="2" creationId="{8B4E76DD-9066-08C2-AB39-9A3E29CB1EAD}"/>
          </ac:spMkLst>
        </pc:spChg>
        <pc:picChg chg="mod">
          <ac:chgData name="IGOR Lopez Orbe" userId="ec57996b-2ae4-4e7e-b3b5-41577a83a4a5" providerId="ADAL" clId="{2F81DCC9-9C47-470D-8EFD-541F3F912874}" dt="2023-10-06T09:13:38.507" v="5" actId="14100"/>
          <ac:picMkLst>
            <pc:docMk/>
            <pc:sldMk cId="1498887816" sldId="2147476985"/>
            <ac:picMk id="1026" creationId="{589DE33D-10F1-F2FB-1B4D-02484C5CA5CD}"/>
          </ac:picMkLst>
        </pc:picChg>
      </pc:sldChg>
    </pc:docChg>
  </pc:docChgLst>
  <pc:docChgLst>
    <pc:chgData name="IGOR Lopez Orbe" userId="ec57996b-2ae4-4e7e-b3b5-41577a83a4a5" providerId="ADAL" clId="{7B5B9E93-DFC3-4D40-927A-257035AA3383}"/>
    <pc:docChg chg="undo custSel addSld delSld modSld sldOrd">
      <pc:chgData name="IGOR Lopez Orbe" userId="ec57996b-2ae4-4e7e-b3b5-41577a83a4a5" providerId="ADAL" clId="{7B5B9E93-DFC3-4D40-927A-257035AA3383}" dt="2024-09-09T18:15:23.120" v="872"/>
      <pc:docMkLst>
        <pc:docMk/>
      </pc:docMkLst>
      <pc:sldChg chg="modSp mod">
        <pc:chgData name="IGOR Lopez Orbe" userId="ec57996b-2ae4-4e7e-b3b5-41577a83a4a5" providerId="ADAL" clId="{7B5B9E93-DFC3-4D40-927A-257035AA3383}" dt="2024-09-04T07:56:34.900" v="649" actId="20577"/>
        <pc:sldMkLst>
          <pc:docMk/>
          <pc:sldMk cId="1082845237" sldId="264"/>
        </pc:sldMkLst>
        <pc:spChg chg="mod">
          <ac:chgData name="IGOR Lopez Orbe" userId="ec57996b-2ae4-4e7e-b3b5-41577a83a4a5" providerId="ADAL" clId="{7B5B9E93-DFC3-4D40-927A-257035AA3383}" dt="2024-09-04T07:56:34.900" v="649" actId="20577"/>
          <ac:spMkLst>
            <pc:docMk/>
            <pc:sldMk cId="1082845237" sldId="264"/>
            <ac:spMk id="2"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3926805771" sldId="267"/>
        </pc:sldMkLst>
        <pc:spChg chg="mod">
          <ac:chgData name="IGOR Lopez Orbe" userId="ec57996b-2ae4-4e7e-b3b5-41577a83a4a5" providerId="ADAL" clId="{7B5B9E93-DFC3-4D40-927A-257035AA3383}" dt="2024-09-04T08:01:54.097" v="763" actId="20577"/>
          <ac:spMkLst>
            <pc:docMk/>
            <pc:sldMk cId="3926805771" sldId="267"/>
            <ac:spMk id="4" creationId="{00000000-0000-0000-0000-000000000000}"/>
          </ac:spMkLst>
        </pc:spChg>
      </pc:sldChg>
      <pc:sldChg chg="del">
        <pc:chgData name="IGOR Lopez Orbe" userId="ec57996b-2ae4-4e7e-b3b5-41577a83a4a5" providerId="ADAL" clId="{7B5B9E93-DFC3-4D40-927A-257035AA3383}" dt="2024-09-04T08:01:37.223" v="739" actId="2696"/>
        <pc:sldMkLst>
          <pc:docMk/>
          <pc:sldMk cId="4168345749" sldId="267"/>
        </pc:sldMkLst>
      </pc:sldChg>
      <pc:sldChg chg="addSp delSp modSp add del mod">
        <pc:chgData name="IGOR Lopez Orbe" userId="ec57996b-2ae4-4e7e-b3b5-41577a83a4a5" providerId="ADAL" clId="{7B5B9E93-DFC3-4D40-927A-257035AA3383}" dt="2024-09-04T08:56:54.444" v="850" actId="47"/>
        <pc:sldMkLst>
          <pc:docMk/>
          <pc:sldMk cId="1181988036" sldId="272"/>
        </pc:sldMkLst>
        <pc:spChg chg="add mod">
          <ac:chgData name="IGOR Lopez Orbe" userId="ec57996b-2ae4-4e7e-b3b5-41577a83a4a5" providerId="ADAL" clId="{7B5B9E93-DFC3-4D40-927A-257035AA3383}" dt="2024-09-04T07:57:34.144" v="682" actId="20577"/>
          <ac:spMkLst>
            <pc:docMk/>
            <pc:sldMk cId="1181988036" sldId="272"/>
            <ac:spMk id="5" creationId="{C771A274-8F48-9077-5222-2E9FF726EEE9}"/>
          </ac:spMkLst>
        </pc:spChg>
        <pc:spChg chg="del">
          <ac:chgData name="IGOR Lopez Orbe" userId="ec57996b-2ae4-4e7e-b3b5-41577a83a4a5" providerId="ADAL" clId="{7B5B9E93-DFC3-4D40-927A-257035AA3383}" dt="2024-09-04T07:57:19.665" v="659" actId="478"/>
          <ac:spMkLst>
            <pc:docMk/>
            <pc:sldMk cId="1181988036" sldId="272"/>
            <ac:spMk id="6" creationId="{00000000-0000-0000-0000-000000000000}"/>
          </ac:spMkLst>
        </pc:spChg>
        <pc:spChg chg="del">
          <ac:chgData name="IGOR Lopez Orbe" userId="ec57996b-2ae4-4e7e-b3b5-41577a83a4a5" providerId="ADAL" clId="{7B5B9E93-DFC3-4D40-927A-257035AA3383}" dt="2024-09-04T07:57:22.176" v="660" actId="478"/>
          <ac:spMkLst>
            <pc:docMk/>
            <pc:sldMk cId="1181988036" sldId="272"/>
            <ac:spMk id="7"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4101936015" sldId="274"/>
        </pc:sldMkLst>
        <pc:spChg chg="mod">
          <ac:chgData name="IGOR Lopez Orbe" userId="ec57996b-2ae4-4e7e-b3b5-41577a83a4a5" providerId="ADAL" clId="{7B5B9E93-DFC3-4D40-927A-257035AA3383}" dt="2024-09-04T07:56:27.200" v="645"/>
          <ac:spMkLst>
            <pc:docMk/>
            <pc:sldMk cId="4101936015" sldId="274"/>
            <ac:spMk id="6"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3148366561" sldId="292"/>
        </pc:sldMkLst>
        <pc:spChg chg="mod">
          <ac:chgData name="IGOR Lopez Orbe" userId="ec57996b-2ae4-4e7e-b3b5-41577a83a4a5" providerId="ADAL" clId="{7B5B9E93-DFC3-4D40-927A-257035AA3383}" dt="2024-09-04T07:56:15.177" v="642" actId="20577"/>
          <ac:spMkLst>
            <pc:docMk/>
            <pc:sldMk cId="3148366561" sldId="292"/>
            <ac:spMk id="49" creationId="{594B3216-ECD5-29C2-258B-20BD7DF6D203}"/>
          </ac:spMkLst>
        </pc:spChg>
      </pc:sldChg>
      <pc:sldChg chg="addSp modSp add del mod">
        <pc:chgData name="IGOR Lopez Orbe" userId="ec57996b-2ae4-4e7e-b3b5-41577a83a4a5" providerId="ADAL" clId="{7B5B9E93-DFC3-4D40-927A-257035AA3383}" dt="2024-09-04T08:56:54.444" v="850" actId="47"/>
        <pc:sldMkLst>
          <pc:docMk/>
          <pc:sldMk cId="3244318871" sldId="4642"/>
        </pc:sldMkLst>
        <pc:spChg chg="add mod">
          <ac:chgData name="IGOR Lopez Orbe" userId="ec57996b-2ae4-4e7e-b3b5-41577a83a4a5" providerId="ADAL" clId="{7B5B9E93-DFC3-4D40-927A-257035AA3383}" dt="2024-09-04T07:57:06.984" v="656" actId="207"/>
          <ac:spMkLst>
            <pc:docMk/>
            <pc:sldMk cId="3244318871" sldId="4642"/>
            <ac:spMk id="3" creationId="{6612AC32-F067-B7B4-32BC-3D7B53D0E2F1}"/>
          </ac:spMkLst>
        </pc:spChg>
      </pc:sldChg>
      <pc:sldChg chg="addSp modSp add del">
        <pc:chgData name="IGOR Lopez Orbe" userId="ec57996b-2ae4-4e7e-b3b5-41577a83a4a5" providerId="ADAL" clId="{7B5B9E93-DFC3-4D40-927A-257035AA3383}" dt="2024-09-04T08:56:54.444" v="850" actId="47"/>
        <pc:sldMkLst>
          <pc:docMk/>
          <pc:sldMk cId="1492432895" sldId="6697"/>
        </pc:sldMkLst>
        <pc:spChg chg="add mod">
          <ac:chgData name="IGOR Lopez Orbe" userId="ec57996b-2ae4-4e7e-b3b5-41577a83a4a5" providerId="ADAL" clId="{7B5B9E93-DFC3-4D40-927A-257035AA3383}" dt="2024-09-04T07:57:10.071" v="657"/>
          <ac:spMkLst>
            <pc:docMk/>
            <pc:sldMk cId="1492432895" sldId="6697"/>
            <ac:spMk id="2" creationId="{0C79A744-72A0-9969-3314-4E5A4D63D3F1}"/>
          </ac:spMkLst>
        </pc:spChg>
      </pc:sldChg>
      <pc:sldChg chg="del">
        <pc:chgData name="IGOR Lopez Orbe" userId="ec57996b-2ae4-4e7e-b3b5-41577a83a4a5" providerId="ADAL" clId="{7B5B9E93-DFC3-4D40-927A-257035AA3383}" dt="2024-09-04T08:02:14.197" v="764" actId="47"/>
        <pc:sldMkLst>
          <pc:docMk/>
          <pc:sldMk cId="651616566" sldId="9619"/>
        </pc:sldMkLst>
      </pc:sldChg>
      <pc:sldChg chg="addSp modSp add del modTransition">
        <pc:chgData name="IGOR Lopez Orbe" userId="ec57996b-2ae4-4e7e-b3b5-41577a83a4a5" providerId="ADAL" clId="{7B5B9E93-DFC3-4D40-927A-257035AA3383}" dt="2024-09-04T08:56:54.444" v="850" actId="47"/>
        <pc:sldMkLst>
          <pc:docMk/>
          <pc:sldMk cId="1197313098" sldId="2147476819"/>
        </pc:sldMkLst>
        <pc:spChg chg="add mod">
          <ac:chgData name="IGOR Lopez Orbe" userId="ec57996b-2ae4-4e7e-b3b5-41577a83a4a5" providerId="ADAL" clId="{7B5B9E93-DFC3-4D40-927A-257035AA3383}" dt="2024-09-04T07:56:59.348" v="654"/>
          <ac:spMkLst>
            <pc:docMk/>
            <pc:sldMk cId="1197313098" sldId="2147476819"/>
            <ac:spMk id="5" creationId="{F125F60B-84CC-13FC-E614-D5F77C5B984A}"/>
          </ac:spMkLst>
        </pc:spChg>
      </pc:sldChg>
      <pc:sldChg chg="del">
        <pc:chgData name="IGOR Lopez Orbe" userId="ec57996b-2ae4-4e7e-b3b5-41577a83a4a5" providerId="ADAL" clId="{7B5B9E93-DFC3-4D40-927A-257035AA3383}" dt="2024-09-04T08:02:14.197" v="764" actId="47"/>
        <pc:sldMkLst>
          <pc:docMk/>
          <pc:sldMk cId="2761435256" sldId="2147476826"/>
        </pc:sldMkLst>
      </pc:sldChg>
      <pc:sldChg chg="modSp add del mod">
        <pc:chgData name="IGOR Lopez Orbe" userId="ec57996b-2ae4-4e7e-b3b5-41577a83a4a5" providerId="ADAL" clId="{7B5B9E93-DFC3-4D40-927A-257035AA3383}" dt="2024-09-04T08:56:54.444" v="850" actId="47"/>
        <pc:sldMkLst>
          <pc:docMk/>
          <pc:sldMk cId="1127394752" sldId="2147476828"/>
        </pc:sldMkLst>
        <pc:spChg chg="mod">
          <ac:chgData name="IGOR Lopez Orbe" userId="ec57996b-2ae4-4e7e-b3b5-41577a83a4a5" providerId="ADAL" clId="{7B5B9E93-DFC3-4D40-927A-257035AA3383}" dt="2024-09-04T07:56:20.408" v="643"/>
          <ac:spMkLst>
            <pc:docMk/>
            <pc:sldMk cId="1127394752" sldId="2147476828"/>
            <ac:spMk id="14" creationId="{2913B813-BF8D-58DD-9F93-F061474EBE32}"/>
          </ac:spMkLst>
        </pc:spChg>
      </pc:sldChg>
      <pc:sldChg chg="modSp add del mod">
        <pc:chgData name="IGOR Lopez Orbe" userId="ec57996b-2ae4-4e7e-b3b5-41577a83a4a5" providerId="ADAL" clId="{7B5B9E93-DFC3-4D40-927A-257035AA3383}" dt="2024-09-04T08:56:54.444" v="850" actId="47"/>
        <pc:sldMkLst>
          <pc:docMk/>
          <pc:sldMk cId="962325370" sldId="2147476829"/>
        </pc:sldMkLst>
        <pc:spChg chg="mod">
          <ac:chgData name="IGOR Lopez Orbe" userId="ec57996b-2ae4-4e7e-b3b5-41577a83a4a5" providerId="ADAL" clId="{7B5B9E93-DFC3-4D40-927A-257035AA3383}" dt="2024-09-04T07:56:22.942" v="644"/>
          <ac:spMkLst>
            <pc:docMk/>
            <pc:sldMk cId="962325370" sldId="2147476829"/>
            <ac:spMk id="20" creationId="{83B213F6-CF6C-8279-E2AC-5CABE833841E}"/>
          </ac:spMkLst>
        </pc:spChg>
      </pc:sldChg>
      <pc:sldChg chg="modSp add del mod">
        <pc:chgData name="IGOR Lopez Orbe" userId="ec57996b-2ae4-4e7e-b3b5-41577a83a4a5" providerId="ADAL" clId="{7B5B9E93-DFC3-4D40-927A-257035AA3383}" dt="2024-09-04T08:56:54.444" v="850" actId="47"/>
        <pc:sldMkLst>
          <pc:docMk/>
          <pc:sldMk cId="3680108884" sldId="2147476830"/>
        </pc:sldMkLst>
        <pc:spChg chg="mod">
          <ac:chgData name="IGOR Lopez Orbe" userId="ec57996b-2ae4-4e7e-b3b5-41577a83a4a5" providerId="ADAL" clId="{7B5B9E93-DFC3-4D40-927A-257035AA3383}" dt="2024-09-04T07:56:47.164" v="651"/>
          <ac:spMkLst>
            <pc:docMk/>
            <pc:sldMk cId="3680108884" sldId="2147476830"/>
            <ac:spMk id="14" creationId="{C4AB4699-2486-5B7A-5AA3-3D1229399EE6}"/>
          </ac:spMkLst>
        </pc:spChg>
      </pc:sldChg>
      <pc:sldChg chg="modSp add del mod">
        <pc:chgData name="IGOR Lopez Orbe" userId="ec57996b-2ae4-4e7e-b3b5-41577a83a4a5" providerId="ADAL" clId="{7B5B9E93-DFC3-4D40-927A-257035AA3383}" dt="2024-09-04T08:56:54.444" v="850" actId="47"/>
        <pc:sldMkLst>
          <pc:docMk/>
          <pc:sldMk cId="30938106" sldId="2147476832"/>
        </pc:sldMkLst>
        <pc:spChg chg="mod">
          <ac:chgData name="IGOR Lopez Orbe" userId="ec57996b-2ae4-4e7e-b3b5-41577a83a4a5" providerId="ADAL" clId="{7B5B9E93-DFC3-4D40-927A-257035AA3383}" dt="2024-09-04T07:56:52.482" v="653"/>
          <ac:spMkLst>
            <pc:docMk/>
            <pc:sldMk cId="30938106" sldId="2147476832"/>
            <ac:spMk id="55" creationId="{853F3711-C037-8349-B7DB-8CA084C39177}"/>
          </ac:spMkLst>
        </pc:spChg>
      </pc:sldChg>
      <pc:sldChg chg="modSp add del mod">
        <pc:chgData name="IGOR Lopez Orbe" userId="ec57996b-2ae4-4e7e-b3b5-41577a83a4a5" providerId="ADAL" clId="{7B5B9E93-DFC3-4D40-927A-257035AA3383}" dt="2024-09-04T08:56:54.444" v="850" actId="47"/>
        <pc:sldMkLst>
          <pc:docMk/>
          <pc:sldMk cId="244292061" sldId="2147476834"/>
        </pc:sldMkLst>
        <pc:spChg chg="mod">
          <ac:chgData name="IGOR Lopez Orbe" userId="ec57996b-2ae4-4e7e-b3b5-41577a83a4a5" providerId="ADAL" clId="{7B5B9E93-DFC3-4D40-927A-257035AA3383}" dt="2024-09-04T07:56:49.897" v="652"/>
          <ac:spMkLst>
            <pc:docMk/>
            <pc:sldMk cId="244292061" sldId="2147476834"/>
            <ac:spMk id="57" creationId="{CD8C27CF-06AC-3D04-1C1E-5215FD94DF70}"/>
          </ac:spMkLst>
        </pc:spChg>
      </pc:sldChg>
      <pc:sldChg chg="modSp add del mod">
        <pc:chgData name="IGOR Lopez Orbe" userId="ec57996b-2ae4-4e7e-b3b5-41577a83a4a5" providerId="ADAL" clId="{7B5B9E93-DFC3-4D40-927A-257035AA3383}" dt="2024-09-04T08:56:54.444" v="850" actId="47"/>
        <pc:sldMkLst>
          <pc:docMk/>
          <pc:sldMk cId="2150618156" sldId="2147476836"/>
        </pc:sldMkLst>
        <pc:spChg chg="mod">
          <ac:chgData name="IGOR Lopez Orbe" userId="ec57996b-2ae4-4e7e-b3b5-41577a83a4a5" providerId="ADAL" clId="{7B5B9E93-DFC3-4D40-927A-257035AA3383}" dt="2024-09-04T07:57:41.958" v="683"/>
          <ac:spMkLst>
            <pc:docMk/>
            <pc:sldMk cId="2150618156" sldId="2147476836"/>
            <ac:spMk id="15" creationId="{EC4B4F17-EFF8-3BBF-821A-1C5C75682B53}"/>
          </ac:spMkLst>
        </pc:spChg>
      </pc:sldChg>
      <pc:sldChg chg="modSp add del mod">
        <pc:chgData name="IGOR Lopez Orbe" userId="ec57996b-2ae4-4e7e-b3b5-41577a83a4a5" providerId="ADAL" clId="{7B5B9E93-DFC3-4D40-927A-257035AA3383}" dt="2024-09-04T08:01:29.910" v="738" actId="47"/>
        <pc:sldMkLst>
          <pc:docMk/>
          <pc:sldMk cId="2503542148" sldId="2147476837"/>
        </pc:sldMkLst>
        <pc:spChg chg="mod">
          <ac:chgData name="IGOR Lopez Orbe" userId="ec57996b-2ae4-4e7e-b3b5-41577a83a4a5" providerId="ADAL" clId="{7B5B9E93-DFC3-4D40-927A-257035AA3383}" dt="2024-09-04T07:57:50.329" v="686"/>
          <ac:spMkLst>
            <pc:docMk/>
            <pc:sldMk cId="2503542148" sldId="2147476837"/>
            <ac:spMk id="22" creationId="{A033C927-0CA3-E381-08BF-BB14C09E5CD7}"/>
          </ac:spMkLst>
        </pc:spChg>
      </pc:sldChg>
      <pc:sldChg chg="modSp add del mod">
        <pc:chgData name="IGOR Lopez Orbe" userId="ec57996b-2ae4-4e7e-b3b5-41577a83a4a5" providerId="ADAL" clId="{7B5B9E93-DFC3-4D40-927A-257035AA3383}" dt="2024-09-04T08:56:54.444" v="850" actId="47"/>
        <pc:sldMkLst>
          <pc:docMk/>
          <pc:sldMk cId="2412057679" sldId="2147476840"/>
        </pc:sldMkLst>
        <pc:spChg chg="mod">
          <ac:chgData name="IGOR Lopez Orbe" userId="ec57996b-2ae4-4e7e-b3b5-41577a83a4a5" providerId="ADAL" clId="{7B5B9E93-DFC3-4D40-927A-257035AA3383}" dt="2024-09-04T07:57:44.524" v="684"/>
          <ac:spMkLst>
            <pc:docMk/>
            <pc:sldMk cId="2412057679" sldId="2147476840"/>
            <ac:spMk id="3" creationId="{1BCBF59F-E876-6461-504C-88FAFA76ED02}"/>
          </ac:spMkLst>
        </pc:spChg>
      </pc:sldChg>
      <pc:sldChg chg="modSp add del mod">
        <pc:chgData name="IGOR Lopez Orbe" userId="ec57996b-2ae4-4e7e-b3b5-41577a83a4a5" providerId="ADAL" clId="{7B5B9E93-DFC3-4D40-927A-257035AA3383}" dt="2024-09-04T08:56:54.444" v="850" actId="47"/>
        <pc:sldMkLst>
          <pc:docMk/>
          <pc:sldMk cId="1905864766" sldId="2147476843"/>
        </pc:sldMkLst>
        <pc:spChg chg="mod">
          <ac:chgData name="IGOR Lopez Orbe" userId="ec57996b-2ae4-4e7e-b3b5-41577a83a4a5" providerId="ADAL" clId="{7B5B9E93-DFC3-4D40-927A-257035AA3383}" dt="2024-09-04T07:56:40.272" v="650"/>
          <ac:spMkLst>
            <pc:docMk/>
            <pc:sldMk cId="1905864766" sldId="2147476843"/>
            <ac:spMk id="20" creationId="{83B213F6-CF6C-8279-E2AC-5CABE833841E}"/>
          </ac:spMkLst>
        </pc:spChg>
      </pc:sldChg>
      <pc:sldChg chg="modSp add del mod">
        <pc:chgData name="IGOR Lopez Orbe" userId="ec57996b-2ae4-4e7e-b3b5-41577a83a4a5" providerId="ADAL" clId="{7B5B9E93-DFC3-4D40-927A-257035AA3383}" dt="2024-09-04T08:56:54.444" v="850" actId="47"/>
        <pc:sldMkLst>
          <pc:docMk/>
          <pc:sldMk cId="2852724241" sldId="2147476844"/>
        </pc:sldMkLst>
        <pc:spChg chg="mod">
          <ac:chgData name="IGOR Lopez Orbe" userId="ec57996b-2ae4-4e7e-b3b5-41577a83a4a5" providerId="ADAL" clId="{7B5B9E93-DFC3-4D40-927A-257035AA3383}" dt="2024-09-04T07:57:47.896" v="685"/>
          <ac:spMkLst>
            <pc:docMk/>
            <pc:sldMk cId="2852724241" sldId="2147476844"/>
            <ac:spMk id="9" creationId="{F1B9B224-FA12-45E1-4F2C-3A6013685F63}"/>
          </ac:spMkLst>
        </pc:spChg>
      </pc:sldChg>
      <pc:sldChg chg="del">
        <pc:chgData name="IGOR Lopez Orbe" userId="ec57996b-2ae4-4e7e-b3b5-41577a83a4a5" providerId="ADAL" clId="{7B5B9E93-DFC3-4D40-927A-257035AA3383}" dt="2024-09-04T08:02:14.197" v="764" actId="47"/>
        <pc:sldMkLst>
          <pc:docMk/>
          <pc:sldMk cId="4038617994" sldId="2147476882"/>
        </pc:sldMkLst>
      </pc:sldChg>
      <pc:sldChg chg="del">
        <pc:chgData name="IGOR Lopez Orbe" userId="ec57996b-2ae4-4e7e-b3b5-41577a83a4a5" providerId="ADAL" clId="{7B5B9E93-DFC3-4D40-927A-257035AA3383}" dt="2024-09-04T08:02:14.197" v="764" actId="47"/>
        <pc:sldMkLst>
          <pc:docMk/>
          <pc:sldMk cId="3062153782" sldId="2147476891"/>
        </pc:sldMkLst>
      </pc:sldChg>
      <pc:sldChg chg="modSp mod">
        <pc:chgData name="IGOR Lopez Orbe" userId="ec57996b-2ae4-4e7e-b3b5-41577a83a4a5" providerId="ADAL" clId="{7B5B9E93-DFC3-4D40-927A-257035AA3383}" dt="2024-09-04T06:40:39.787" v="180" actId="20577"/>
        <pc:sldMkLst>
          <pc:docMk/>
          <pc:sldMk cId="954076397" sldId="2147476893"/>
        </pc:sldMkLst>
        <pc:spChg chg="mod">
          <ac:chgData name="IGOR Lopez Orbe" userId="ec57996b-2ae4-4e7e-b3b5-41577a83a4a5" providerId="ADAL" clId="{7B5B9E93-DFC3-4D40-927A-257035AA3383}" dt="2024-09-04T06:40:39.787" v="180" actId="20577"/>
          <ac:spMkLst>
            <pc:docMk/>
            <pc:sldMk cId="954076397" sldId="2147476893"/>
            <ac:spMk id="2" creationId="{8B4E76DD-9066-08C2-AB39-9A3E29CB1EAD}"/>
          </ac:spMkLst>
        </pc:spChg>
        <pc:spChg chg="mod">
          <ac:chgData name="IGOR Lopez Orbe" userId="ec57996b-2ae4-4e7e-b3b5-41577a83a4a5" providerId="ADAL" clId="{7B5B9E93-DFC3-4D40-927A-257035AA3383}" dt="2024-09-04T06:34:38.195" v="56" actId="20577"/>
          <ac:spMkLst>
            <pc:docMk/>
            <pc:sldMk cId="954076397" sldId="2147476893"/>
            <ac:spMk id="13" creationId="{925B5B00-5C62-FA4C-FD2B-28F7C46984AE}"/>
          </ac:spMkLst>
        </pc:spChg>
        <pc:spChg chg="mod">
          <ac:chgData name="IGOR Lopez Orbe" userId="ec57996b-2ae4-4e7e-b3b5-41577a83a4a5" providerId="ADAL" clId="{7B5B9E93-DFC3-4D40-927A-257035AA3383}" dt="2024-09-04T06:27:16.222" v="3" actId="20577"/>
          <ac:spMkLst>
            <pc:docMk/>
            <pc:sldMk cId="954076397" sldId="2147476893"/>
            <ac:spMk id="16" creationId="{29DE1E96-D376-4B29-F153-088461C873DB}"/>
          </ac:spMkLst>
        </pc:spChg>
        <pc:spChg chg="mod">
          <ac:chgData name="IGOR Lopez Orbe" userId="ec57996b-2ae4-4e7e-b3b5-41577a83a4a5" providerId="ADAL" clId="{7B5B9E93-DFC3-4D40-927A-257035AA3383}" dt="2024-09-04T06:34:44.340" v="60" actId="20577"/>
          <ac:spMkLst>
            <pc:docMk/>
            <pc:sldMk cId="954076397" sldId="2147476893"/>
            <ac:spMk id="21" creationId="{9C1E2355-BCC0-C4D8-7602-A7945945F9F5}"/>
          </ac:spMkLst>
        </pc:spChg>
      </pc:sldChg>
      <pc:sldChg chg="del">
        <pc:chgData name="IGOR Lopez Orbe" userId="ec57996b-2ae4-4e7e-b3b5-41577a83a4a5" providerId="ADAL" clId="{7B5B9E93-DFC3-4D40-927A-257035AA3383}" dt="2024-09-04T06:34:47.600" v="61" actId="47"/>
        <pc:sldMkLst>
          <pc:docMk/>
          <pc:sldMk cId="3480168537" sldId="2147476894"/>
        </pc:sldMkLst>
      </pc:sldChg>
      <pc:sldChg chg="del">
        <pc:chgData name="IGOR Lopez Orbe" userId="ec57996b-2ae4-4e7e-b3b5-41577a83a4a5" providerId="ADAL" clId="{7B5B9E93-DFC3-4D40-927A-257035AA3383}" dt="2024-09-04T06:34:49.979" v="63" actId="47"/>
        <pc:sldMkLst>
          <pc:docMk/>
          <pc:sldMk cId="1182631052" sldId="2147476895"/>
        </pc:sldMkLst>
      </pc:sldChg>
      <pc:sldChg chg="del">
        <pc:chgData name="IGOR Lopez Orbe" userId="ec57996b-2ae4-4e7e-b3b5-41577a83a4a5" providerId="ADAL" clId="{7B5B9E93-DFC3-4D40-927A-257035AA3383}" dt="2024-09-04T06:34:50.934" v="64" actId="47"/>
        <pc:sldMkLst>
          <pc:docMk/>
          <pc:sldMk cId="3475998661" sldId="2147476897"/>
        </pc:sldMkLst>
      </pc:sldChg>
      <pc:sldChg chg="del">
        <pc:chgData name="IGOR Lopez Orbe" userId="ec57996b-2ae4-4e7e-b3b5-41577a83a4a5" providerId="ADAL" clId="{7B5B9E93-DFC3-4D40-927A-257035AA3383}" dt="2024-09-04T06:34:49.069" v="62" actId="47"/>
        <pc:sldMkLst>
          <pc:docMk/>
          <pc:sldMk cId="1050759615" sldId="2147476898"/>
        </pc:sldMkLst>
      </pc:sldChg>
      <pc:sldChg chg="del">
        <pc:chgData name="IGOR Lopez Orbe" userId="ec57996b-2ae4-4e7e-b3b5-41577a83a4a5" providerId="ADAL" clId="{7B5B9E93-DFC3-4D40-927A-257035AA3383}" dt="2024-09-04T08:02:14.197" v="764" actId="47"/>
        <pc:sldMkLst>
          <pc:docMk/>
          <pc:sldMk cId="3657837914" sldId="2147476972"/>
        </pc:sldMkLst>
      </pc:sldChg>
      <pc:sldChg chg="del">
        <pc:chgData name="IGOR Lopez Orbe" userId="ec57996b-2ae4-4e7e-b3b5-41577a83a4a5" providerId="ADAL" clId="{7B5B9E93-DFC3-4D40-927A-257035AA3383}" dt="2024-09-04T08:02:14.197" v="764" actId="47"/>
        <pc:sldMkLst>
          <pc:docMk/>
          <pc:sldMk cId="406739151" sldId="2147476973"/>
        </pc:sldMkLst>
      </pc:sldChg>
      <pc:sldChg chg="del">
        <pc:chgData name="IGOR Lopez Orbe" userId="ec57996b-2ae4-4e7e-b3b5-41577a83a4a5" providerId="ADAL" clId="{7B5B9E93-DFC3-4D40-927A-257035AA3383}" dt="2024-09-04T08:02:14.197" v="764" actId="47"/>
        <pc:sldMkLst>
          <pc:docMk/>
          <pc:sldMk cId="1578142637" sldId="2147476974"/>
        </pc:sldMkLst>
      </pc:sldChg>
      <pc:sldChg chg="del">
        <pc:chgData name="IGOR Lopez Orbe" userId="ec57996b-2ae4-4e7e-b3b5-41577a83a4a5" providerId="ADAL" clId="{7B5B9E93-DFC3-4D40-927A-257035AA3383}" dt="2024-09-04T08:02:14.197" v="764" actId="47"/>
        <pc:sldMkLst>
          <pc:docMk/>
          <pc:sldMk cId="231334888" sldId="2147476975"/>
        </pc:sldMkLst>
      </pc:sldChg>
      <pc:sldChg chg="del">
        <pc:chgData name="IGOR Lopez Orbe" userId="ec57996b-2ae4-4e7e-b3b5-41577a83a4a5" providerId="ADAL" clId="{7B5B9E93-DFC3-4D40-927A-257035AA3383}" dt="2024-09-04T08:02:14.197" v="764" actId="47"/>
        <pc:sldMkLst>
          <pc:docMk/>
          <pc:sldMk cId="2119798917" sldId="2147476976"/>
        </pc:sldMkLst>
      </pc:sldChg>
      <pc:sldChg chg="del">
        <pc:chgData name="IGOR Lopez Orbe" userId="ec57996b-2ae4-4e7e-b3b5-41577a83a4a5" providerId="ADAL" clId="{7B5B9E93-DFC3-4D40-927A-257035AA3383}" dt="2024-09-04T08:02:14.197" v="764" actId="47"/>
        <pc:sldMkLst>
          <pc:docMk/>
          <pc:sldMk cId="3896747607" sldId="2147476977"/>
        </pc:sldMkLst>
      </pc:sldChg>
      <pc:sldChg chg="del">
        <pc:chgData name="IGOR Lopez Orbe" userId="ec57996b-2ae4-4e7e-b3b5-41577a83a4a5" providerId="ADAL" clId="{7B5B9E93-DFC3-4D40-927A-257035AA3383}" dt="2024-09-04T08:02:14.197" v="764" actId="47"/>
        <pc:sldMkLst>
          <pc:docMk/>
          <pc:sldMk cId="867304578" sldId="2147476978"/>
        </pc:sldMkLst>
      </pc:sldChg>
      <pc:sldChg chg="del">
        <pc:chgData name="IGOR Lopez Orbe" userId="ec57996b-2ae4-4e7e-b3b5-41577a83a4a5" providerId="ADAL" clId="{7B5B9E93-DFC3-4D40-927A-257035AA3383}" dt="2024-09-04T08:02:14.197" v="764" actId="47"/>
        <pc:sldMkLst>
          <pc:docMk/>
          <pc:sldMk cId="2458159707" sldId="2147476979"/>
        </pc:sldMkLst>
      </pc:sldChg>
      <pc:sldChg chg="del">
        <pc:chgData name="IGOR Lopez Orbe" userId="ec57996b-2ae4-4e7e-b3b5-41577a83a4a5" providerId="ADAL" clId="{7B5B9E93-DFC3-4D40-927A-257035AA3383}" dt="2024-09-04T08:02:14.197" v="764" actId="47"/>
        <pc:sldMkLst>
          <pc:docMk/>
          <pc:sldMk cId="1117868817" sldId="2147476980"/>
        </pc:sldMkLst>
      </pc:sldChg>
      <pc:sldChg chg="del">
        <pc:chgData name="IGOR Lopez Orbe" userId="ec57996b-2ae4-4e7e-b3b5-41577a83a4a5" providerId="ADAL" clId="{7B5B9E93-DFC3-4D40-927A-257035AA3383}" dt="2024-09-04T08:02:14.197" v="764" actId="47"/>
        <pc:sldMkLst>
          <pc:docMk/>
          <pc:sldMk cId="2780752309" sldId="2147476981"/>
        </pc:sldMkLst>
      </pc:sldChg>
      <pc:sldChg chg="del">
        <pc:chgData name="IGOR Lopez Orbe" userId="ec57996b-2ae4-4e7e-b3b5-41577a83a4a5" providerId="ADAL" clId="{7B5B9E93-DFC3-4D40-927A-257035AA3383}" dt="2024-09-04T08:02:14.197" v="764" actId="47"/>
        <pc:sldMkLst>
          <pc:docMk/>
          <pc:sldMk cId="4215749138" sldId="2147476982"/>
        </pc:sldMkLst>
      </pc:sldChg>
      <pc:sldChg chg="modSp mod">
        <pc:chgData name="IGOR Lopez Orbe" userId="ec57996b-2ae4-4e7e-b3b5-41577a83a4a5" providerId="ADAL" clId="{7B5B9E93-DFC3-4D40-927A-257035AA3383}" dt="2024-09-04T08:02:19.874" v="768" actId="20577"/>
        <pc:sldMkLst>
          <pc:docMk/>
          <pc:sldMk cId="2815638965" sldId="2147476983"/>
        </pc:sldMkLst>
        <pc:spChg chg="mod">
          <ac:chgData name="IGOR Lopez Orbe" userId="ec57996b-2ae4-4e7e-b3b5-41577a83a4a5" providerId="ADAL" clId="{7B5B9E93-DFC3-4D40-927A-257035AA3383}" dt="2024-09-04T08:02:19.874" v="768" actId="20577"/>
          <ac:spMkLst>
            <pc:docMk/>
            <pc:sldMk cId="2815638965" sldId="2147476983"/>
            <ac:spMk id="10" creationId="{B3AE353B-3157-C78C-7AA1-0E2DEE1B0FB8}"/>
          </ac:spMkLst>
        </pc:spChg>
      </pc:sldChg>
      <pc:sldChg chg="del">
        <pc:chgData name="IGOR Lopez Orbe" userId="ec57996b-2ae4-4e7e-b3b5-41577a83a4a5" providerId="ADAL" clId="{7B5B9E93-DFC3-4D40-927A-257035AA3383}" dt="2024-09-04T06:34:52.013" v="65" actId="47"/>
        <pc:sldMkLst>
          <pc:docMk/>
          <pc:sldMk cId="234441823" sldId="2147476984"/>
        </pc:sldMkLst>
      </pc:sldChg>
      <pc:sldChg chg="modSp add mod">
        <pc:chgData name="IGOR Lopez Orbe" userId="ec57996b-2ae4-4e7e-b3b5-41577a83a4a5" providerId="ADAL" clId="{7B5B9E93-DFC3-4D40-927A-257035AA3383}" dt="2024-09-04T06:39:38.589" v="173" actId="20577"/>
        <pc:sldMkLst>
          <pc:docMk/>
          <pc:sldMk cId="1535313371" sldId="2147476984"/>
        </pc:sldMkLst>
        <pc:spChg chg="mod">
          <ac:chgData name="IGOR Lopez Orbe" userId="ec57996b-2ae4-4e7e-b3b5-41577a83a4a5" providerId="ADAL" clId="{7B5B9E93-DFC3-4D40-927A-257035AA3383}" dt="2024-09-04T06:39:38.589" v="173" actId="20577"/>
          <ac:spMkLst>
            <pc:docMk/>
            <pc:sldMk cId="1535313371" sldId="2147476984"/>
            <ac:spMk id="2" creationId="{8B4E76DD-9066-08C2-AB39-9A3E29CB1EAD}"/>
          </ac:spMkLst>
        </pc:spChg>
      </pc:sldChg>
      <pc:sldChg chg="modSp add mod">
        <pc:chgData name="IGOR Lopez Orbe" userId="ec57996b-2ae4-4e7e-b3b5-41577a83a4a5" providerId="ADAL" clId="{7B5B9E93-DFC3-4D40-927A-257035AA3383}" dt="2024-09-04T07:05:10.504" v="617" actId="20577"/>
        <pc:sldMkLst>
          <pc:docMk/>
          <pc:sldMk cId="1456264147" sldId="2147476985"/>
        </pc:sldMkLst>
        <pc:spChg chg="mod">
          <ac:chgData name="IGOR Lopez Orbe" userId="ec57996b-2ae4-4e7e-b3b5-41577a83a4a5" providerId="ADAL" clId="{7B5B9E93-DFC3-4D40-927A-257035AA3383}" dt="2024-09-04T07:05:10.504" v="617" actId="20577"/>
          <ac:spMkLst>
            <pc:docMk/>
            <pc:sldMk cId="1456264147" sldId="2147476985"/>
            <ac:spMk id="2" creationId="{8B4E76DD-9066-08C2-AB39-9A3E29CB1EAD}"/>
          </ac:spMkLst>
        </pc:spChg>
      </pc:sldChg>
      <pc:sldChg chg="del">
        <pc:chgData name="IGOR Lopez Orbe" userId="ec57996b-2ae4-4e7e-b3b5-41577a83a4a5" providerId="ADAL" clId="{7B5B9E93-DFC3-4D40-927A-257035AA3383}" dt="2024-09-04T06:34:52.906" v="66" actId="47"/>
        <pc:sldMkLst>
          <pc:docMk/>
          <pc:sldMk cId="1498887816" sldId="2147476985"/>
        </pc:sldMkLst>
      </pc:sldChg>
      <pc:sldChg chg="modSp add mod">
        <pc:chgData name="IGOR Lopez Orbe" userId="ec57996b-2ae4-4e7e-b3b5-41577a83a4a5" providerId="ADAL" clId="{7B5B9E93-DFC3-4D40-927A-257035AA3383}" dt="2024-09-04T07:44:17.747" v="620" actId="108"/>
        <pc:sldMkLst>
          <pc:docMk/>
          <pc:sldMk cId="117490164" sldId="2147476986"/>
        </pc:sldMkLst>
        <pc:spChg chg="mod">
          <ac:chgData name="IGOR Lopez Orbe" userId="ec57996b-2ae4-4e7e-b3b5-41577a83a4a5" providerId="ADAL" clId="{7B5B9E93-DFC3-4D40-927A-257035AA3383}" dt="2024-09-04T07:44:17.747" v="620" actId="108"/>
          <ac:spMkLst>
            <pc:docMk/>
            <pc:sldMk cId="117490164" sldId="2147476986"/>
            <ac:spMk id="2" creationId="{8B4E76DD-9066-08C2-AB39-9A3E29CB1EAD}"/>
          </ac:spMkLst>
        </pc:spChg>
      </pc:sldChg>
      <pc:sldChg chg="modSp add mod">
        <pc:chgData name="IGOR Lopez Orbe" userId="ec57996b-2ae4-4e7e-b3b5-41577a83a4a5" providerId="ADAL" clId="{7B5B9E93-DFC3-4D40-927A-257035AA3383}" dt="2024-09-04T06:54:28.503" v="391" actId="108"/>
        <pc:sldMkLst>
          <pc:docMk/>
          <pc:sldMk cId="3346075800" sldId="2147476987"/>
        </pc:sldMkLst>
        <pc:spChg chg="mod">
          <ac:chgData name="IGOR Lopez Orbe" userId="ec57996b-2ae4-4e7e-b3b5-41577a83a4a5" providerId="ADAL" clId="{7B5B9E93-DFC3-4D40-927A-257035AA3383}" dt="2024-09-04T06:54:28.503" v="391" actId="108"/>
          <ac:spMkLst>
            <pc:docMk/>
            <pc:sldMk cId="3346075800" sldId="2147476987"/>
            <ac:spMk id="2" creationId="{8B4E76DD-9066-08C2-AB39-9A3E29CB1EAD}"/>
          </ac:spMkLst>
        </pc:spChg>
      </pc:sldChg>
      <pc:sldChg chg="modSp add mod">
        <pc:chgData name="IGOR Lopez Orbe" userId="ec57996b-2ae4-4e7e-b3b5-41577a83a4a5" providerId="ADAL" clId="{7B5B9E93-DFC3-4D40-927A-257035AA3383}" dt="2024-09-09T18:14:19.393" v="869" actId="6549"/>
        <pc:sldMkLst>
          <pc:docMk/>
          <pc:sldMk cId="1107426772" sldId="2147476988"/>
        </pc:sldMkLst>
        <pc:spChg chg="mod">
          <ac:chgData name="IGOR Lopez Orbe" userId="ec57996b-2ae4-4e7e-b3b5-41577a83a4a5" providerId="ADAL" clId="{7B5B9E93-DFC3-4D40-927A-257035AA3383}" dt="2024-09-09T18:14:19.393" v="869" actId="6549"/>
          <ac:spMkLst>
            <pc:docMk/>
            <pc:sldMk cId="1107426772" sldId="2147476988"/>
            <ac:spMk id="2" creationId="{8B4E76DD-9066-08C2-AB39-9A3E29CB1EAD}"/>
          </ac:spMkLst>
        </pc:spChg>
      </pc:sldChg>
      <pc:sldChg chg="modSp add mod">
        <pc:chgData name="IGOR Lopez Orbe" userId="ec57996b-2ae4-4e7e-b3b5-41577a83a4a5" providerId="ADAL" clId="{7B5B9E93-DFC3-4D40-927A-257035AA3383}" dt="2024-09-04T06:58:41.434" v="464" actId="108"/>
        <pc:sldMkLst>
          <pc:docMk/>
          <pc:sldMk cId="30405803" sldId="2147476989"/>
        </pc:sldMkLst>
        <pc:spChg chg="mod">
          <ac:chgData name="IGOR Lopez Orbe" userId="ec57996b-2ae4-4e7e-b3b5-41577a83a4a5" providerId="ADAL" clId="{7B5B9E93-DFC3-4D40-927A-257035AA3383}" dt="2024-09-04T06:58:41.434" v="464" actId="108"/>
          <ac:spMkLst>
            <pc:docMk/>
            <pc:sldMk cId="30405803" sldId="2147476989"/>
            <ac:spMk id="2" creationId="{8B4E76DD-9066-08C2-AB39-9A3E29CB1EAD}"/>
          </ac:spMkLst>
        </pc:spChg>
      </pc:sldChg>
      <pc:sldChg chg="modSp add mod">
        <pc:chgData name="IGOR Lopez Orbe" userId="ec57996b-2ae4-4e7e-b3b5-41577a83a4a5" providerId="ADAL" clId="{7B5B9E93-DFC3-4D40-927A-257035AA3383}" dt="2024-09-04T09:00:15.070" v="860" actId="20577"/>
        <pc:sldMkLst>
          <pc:docMk/>
          <pc:sldMk cId="4120388227" sldId="2147476990"/>
        </pc:sldMkLst>
        <pc:spChg chg="mod">
          <ac:chgData name="IGOR Lopez Orbe" userId="ec57996b-2ae4-4e7e-b3b5-41577a83a4a5" providerId="ADAL" clId="{7B5B9E93-DFC3-4D40-927A-257035AA3383}" dt="2024-09-04T09:00:15.070" v="860" actId="20577"/>
          <ac:spMkLst>
            <pc:docMk/>
            <pc:sldMk cId="4120388227" sldId="2147476990"/>
            <ac:spMk id="2" creationId="{8B4E76DD-9066-08C2-AB39-9A3E29CB1EAD}"/>
          </ac:spMkLst>
        </pc:spChg>
      </pc:sldChg>
      <pc:sldChg chg="modSp add del mod">
        <pc:chgData name="IGOR Lopez Orbe" userId="ec57996b-2ae4-4e7e-b3b5-41577a83a4a5" providerId="ADAL" clId="{7B5B9E93-DFC3-4D40-927A-257035AA3383}" dt="2024-09-04T08:56:54.444" v="850" actId="47"/>
        <pc:sldMkLst>
          <pc:docMk/>
          <pc:sldMk cId="68874098" sldId="2147476991"/>
        </pc:sldMkLst>
        <pc:spChg chg="mod">
          <ac:chgData name="IGOR Lopez Orbe" userId="ec57996b-2ae4-4e7e-b3b5-41577a83a4a5" providerId="ADAL" clId="{7B5B9E93-DFC3-4D40-927A-257035AA3383}" dt="2024-09-04T07:58:54.877" v="688"/>
          <ac:spMkLst>
            <pc:docMk/>
            <pc:sldMk cId="68874098" sldId="2147476991"/>
            <ac:spMk id="3" creationId="{F6E18FE9-7B07-574D-BF03-965ADBAC978F}"/>
          </ac:spMkLst>
        </pc:spChg>
        <pc:spChg chg="mod">
          <ac:chgData name="IGOR Lopez Orbe" userId="ec57996b-2ae4-4e7e-b3b5-41577a83a4a5" providerId="ADAL" clId="{7B5B9E93-DFC3-4D40-927A-257035AA3383}" dt="2024-09-04T08:01:17.850" v="737" actId="6549"/>
          <ac:spMkLst>
            <pc:docMk/>
            <pc:sldMk cId="68874098" sldId="2147476991"/>
            <ac:spMk id="27" creationId="{466DDBC2-62E5-2344-AA18-B883F496113B}"/>
          </ac:spMkLst>
        </pc:spChg>
      </pc:sldChg>
      <pc:sldChg chg="add del">
        <pc:chgData name="IGOR Lopez Orbe" userId="ec57996b-2ae4-4e7e-b3b5-41577a83a4a5" providerId="ADAL" clId="{7B5B9E93-DFC3-4D40-927A-257035AA3383}" dt="2024-09-04T07:57:13.185" v="658" actId="47"/>
        <pc:sldMkLst>
          <pc:docMk/>
          <pc:sldMk cId="1684120623" sldId="2147476991"/>
        </pc:sldMkLst>
      </pc:sldChg>
      <pc:sldChg chg="add ord">
        <pc:chgData name="IGOR Lopez Orbe" userId="ec57996b-2ae4-4e7e-b3b5-41577a83a4a5" providerId="ADAL" clId="{7B5B9E93-DFC3-4D40-927A-257035AA3383}" dt="2024-09-09T18:15:23.120" v="872"/>
        <pc:sldMkLst>
          <pc:docMk/>
          <pc:sldMk cId="1370899004" sldId="2147477151"/>
        </pc:sldMkLst>
      </pc:sldChg>
      <pc:sldMasterChg chg="delSldLayout">
        <pc:chgData name="IGOR Lopez Orbe" userId="ec57996b-2ae4-4e7e-b3b5-41577a83a4a5" providerId="ADAL" clId="{7B5B9E93-DFC3-4D40-927A-257035AA3383}" dt="2024-09-04T08:56:54.444" v="850" actId="47"/>
        <pc:sldMasterMkLst>
          <pc:docMk/>
          <pc:sldMasterMk cId="1522954573" sldId="2147483648"/>
        </pc:sldMasterMkLst>
        <pc:sldLayoutChg chg="del">
          <pc:chgData name="IGOR Lopez Orbe" userId="ec57996b-2ae4-4e7e-b3b5-41577a83a4a5" providerId="ADAL" clId="{7B5B9E93-DFC3-4D40-927A-257035AA3383}" dt="2024-09-04T08:56:54.444" v="850" actId="47"/>
          <pc:sldLayoutMkLst>
            <pc:docMk/>
            <pc:sldMasterMk cId="1522954573" sldId="2147483648"/>
            <pc:sldLayoutMk cId="2293850464" sldId="2147483689"/>
          </pc:sldLayoutMkLst>
        </pc:sldLayoutChg>
        <pc:sldLayoutChg chg="del">
          <pc:chgData name="IGOR Lopez Orbe" userId="ec57996b-2ae4-4e7e-b3b5-41577a83a4a5" providerId="ADAL" clId="{7B5B9E93-DFC3-4D40-927A-257035AA3383}" dt="2024-09-04T08:02:14.197" v="764" actId="47"/>
          <pc:sldLayoutMkLst>
            <pc:docMk/>
            <pc:sldMasterMk cId="1522954573" sldId="2147483648"/>
            <pc:sldLayoutMk cId="1823021900" sldId="2147483691"/>
          </pc:sldLayoutMkLst>
        </pc:sldLayoutChg>
        <pc:sldLayoutChg chg="del">
          <pc:chgData name="IGOR Lopez Orbe" userId="ec57996b-2ae4-4e7e-b3b5-41577a83a4a5" providerId="ADAL" clId="{7B5B9E93-DFC3-4D40-927A-257035AA3383}" dt="2024-09-04T08:56:54.444" v="850" actId="47"/>
          <pc:sldLayoutMkLst>
            <pc:docMk/>
            <pc:sldMasterMk cId="1522954573" sldId="2147483648"/>
            <pc:sldLayoutMk cId="985377316" sldId="214748369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D3A746-244B-463F-826A-056AEBAADDC2}" type="datetimeFigureOut">
              <a:rPr lang="es-ES" smtClean="0"/>
              <a:t>14/10/2024</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26418-B3D6-4862-869C-EB1C74EF0004}" type="slidenum">
              <a:rPr lang="es-ES" smtClean="0"/>
              <a:t>‹Nº›</a:t>
            </a:fld>
            <a:endParaRPr lang="es-ES"/>
          </a:p>
        </p:txBody>
      </p:sp>
    </p:spTree>
    <p:extLst>
      <p:ext uri="{BB962C8B-B14F-4D97-AF65-F5344CB8AC3E}">
        <p14:creationId xmlns:p14="http://schemas.microsoft.com/office/powerpoint/2010/main" val="4267440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3</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21470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4</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904676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5</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3076558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6</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890753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7</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574043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8</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19877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9</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3630250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10</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784655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11</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957003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5.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7.jpeg"/></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5.jpeg"/><Relationship Id="rId7" Type="http://schemas.openxmlformats.org/officeDocument/2006/relationships/image" Target="../media/image2.jpeg"/><Relationship Id="rId2" Type="http://schemas.openxmlformats.org/officeDocument/2006/relationships/hyperlink" Target="http://www.caf.net/" TargetMode="External"/><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0.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ciones">
    <p:spTree>
      <p:nvGrpSpPr>
        <p:cNvPr id="1" name=""/>
        <p:cNvGrpSpPr/>
        <p:nvPr/>
      </p:nvGrpSpPr>
      <p:grpSpPr>
        <a:xfrm>
          <a:off x="0" y="0"/>
          <a:ext cx="0" cy="0"/>
          <a:chOff x="0" y="0"/>
          <a:chExt cx="0" cy="0"/>
        </a:xfrm>
      </p:grpSpPr>
      <p:sp>
        <p:nvSpPr>
          <p:cNvPr id="7" name="Marcador de título 1"/>
          <p:cNvSpPr>
            <a:spLocks noGrp="1"/>
          </p:cNvSpPr>
          <p:nvPr>
            <p:ph type="title" hasCustomPrompt="1"/>
          </p:nvPr>
        </p:nvSpPr>
        <p:spPr>
          <a:xfrm>
            <a:off x="591064" y="365125"/>
            <a:ext cx="10762736" cy="1325563"/>
          </a:xfrm>
          <a:prstGeom prst="rect">
            <a:avLst/>
          </a:prstGeom>
        </p:spPr>
        <p:txBody>
          <a:bodyPr vert="horz" lIns="91440" tIns="45720" rIns="91440" bIns="45720" rtlCol="0" anchor="ctr">
            <a:normAutofit/>
          </a:bodyPr>
          <a:lstStyle>
            <a:lvl1pPr>
              <a:defRPr/>
            </a:lvl1pPr>
          </a:lstStyle>
          <a:p>
            <a:r>
              <a:rPr lang="es-ES" dirty="0"/>
              <a:t>PATRÓN PPT CAF.</a:t>
            </a:r>
          </a:p>
        </p:txBody>
      </p:sp>
      <p:sp>
        <p:nvSpPr>
          <p:cNvPr id="3" name="Marcador de texto 2"/>
          <p:cNvSpPr>
            <a:spLocks noGrp="1"/>
          </p:cNvSpPr>
          <p:nvPr>
            <p:ph type="body" sz="quarter" idx="13" hasCustomPrompt="1"/>
          </p:nvPr>
        </p:nvSpPr>
        <p:spPr>
          <a:xfrm>
            <a:off x="590550" y="1779588"/>
            <a:ext cx="10763250" cy="4473575"/>
          </a:xfrm>
        </p:spPr>
        <p:txBody>
          <a:bodyPr>
            <a:normAutofit/>
          </a:bodyPr>
          <a:lstStyle>
            <a:lvl1pPr>
              <a:defRPr sz="2400"/>
            </a:lvl1pPr>
            <a:lvl2pPr>
              <a:defRPr sz="1200"/>
            </a:lvl2pPr>
          </a:lstStyle>
          <a:p>
            <a:pPr lvl="0"/>
            <a:r>
              <a:rPr lang="es-ES" dirty="0"/>
              <a:t>Tipografía:  RUBIK</a:t>
            </a:r>
          </a:p>
          <a:p>
            <a:pPr lvl="0"/>
            <a:r>
              <a:rPr lang="es-ES" dirty="0"/>
              <a:t>Paletas de Colores: </a:t>
            </a:r>
          </a:p>
          <a:p>
            <a:pPr lvl="1"/>
            <a:r>
              <a:rPr lang="es-ES" dirty="0"/>
              <a:t>CAF Colores primarios (ya configurado)</a:t>
            </a:r>
          </a:p>
          <a:p>
            <a:pPr lvl="1"/>
            <a:r>
              <a:rPr lang="es-ES" dirty="0"/>
              <a:t>CAF Colores secundarios (Vista -&gt; Patrón diapositivas -&gt; Colores -&gt; CAF Colores Secundarios)</a:t>
            </a:r>
          </a:p>
          <a:p>
            <a:pPr lvl="0"/>
            <a:r>
              <a:rPr lang="es-ES" sz="2400" dirty="0"/>
              <a:t>Iconos: disponibles en carpeta separada</a:t>
            </a:r>
          </a:p>
          <a:p>
            <a:pPr lvl="1"/>
            <a:r>
              <a:rPr lang="es-ES" sz="1400" dirty="0"/>
              <a:t>BEA/APLICACIONES/MARKETING/BRAND BOOD/MASTERS/PPT</a:t>
            </a:r>
          </a:p>
          <a:p>
            <a:pPr lvl="1"/>
            <a:endParaRPr lang="es-ES" sz="1400" dirty="0"/>
          </a:p>
          <a:p>
            <a:pPr lvl="0"/>
            <a:r>
              <a:rPr lang="es-ES" sz="2400" dirty="0"/>
              <a:t>Fotos: disponibles en carpeta separada</a:t>
            </a:r>
          </a:p>
          <a:p>
            <a:pPr lvl="1"/>
            <a:r>
              <a:rPr lang="es-ES" sz="1400" dirty="0"/>
              <a:t>BEA/APLICACIONES/MARKETING/FOTOS</a:t>
            </a:r>
          </a:p>
          <a:p>
            <a:pPr lvl="1"/>
            <a:endParaRPr lang="es-ES" sz="1400" dirty="0"/>
          </a:p>
          <a:p>
            <a:pPr lvl="0"/>
            <a:r>
              <a:rPr lang="es-ES" sz="2400" dirty="0"/>
              <a:t>Dudas: Consultar BRAND BOOK en BEA/APLICACIONES/MARKETING</a:t>
            </a:r>
          </a:p>
        </p:txBody>
      </p:sp>
    </p:spTree>
    <p:extLst>
      <p:ext uri="{BB962C8B-B14F-4D97-AF65-F5344CB8AC3E}">
        <p14:creationId xmlns:p14="http://schemas.microsoft.com/office/powerpoint/2010/main" val="10494667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dor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pic>
        <p:nvPicPr>
          <p:cNvPr id="12" name="Google Shape;110;p3" descr="Google Shape;110;p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2" name="Imagen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7"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4622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dor 02">
    <p:spTree>
      <p:nvGrpSpPr>
        <p:cNvPr id="1" name=""/>
        <p:cNvGrpSpPr/>
        <p:nvPr/>
      </p:nvGrpSpPr>
      <p:grpSpPr>
        <a:xfrm>
          <a:off x="0" y="0"/>
          <a:ext cx="0" cy="0"/>
          <a:chOff x="0" y="0"/>
          <a:chExt cx="0" cy="0"/>
        </a:xfrm>
      </p:grpSpPr>
      <p:sp>
        <p:nvSpPr>
          <p:cNvPr id="11" name="object 2"/>
          <p:cNvSpPr/>
          <p:nvPr userDrawn="1"/>
        </p:nvSpPr>
        <p:spPr>
          <a:xfrm>
            <a:off x="463639" y="746975"/>
            <a:ext cx="11281893"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2" name="Imagen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362978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parador 03">
    <p:spTree>
      <p:nvGrpSpPr>
        <p:cNvPr id="1" name=""/>
        <p:cNvGrpSpPr/>
        <p:nvPr/>
      </p:nvGrpSpPr>
      <p:grpSpPr>
        <a:xfrm>
          <a:off x="0" y="0"/>
          <a:ext cx="0" cy="0"/>
          <a:chOff x="0" y="0"/>
          <a:chExt cx="0" cy="0"/>
        </a:xfrm>
      </p:grpSpPr>
      <p:pic>
        <p:nvPicPr>
          <p:cNvPr id="12" name="Imagen 11"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7737773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dor 04">
    <p:spTree>
      <p:nvGrpSpPr>
        <p:cNvPr id="1" name=""/>
        <p:cNvGrpSpPr/>
        <p:nvPr/>
      </p:nvGrpSpPr>
      <p:grpSpPr>
        <a:xfrm>
          <a:off x="0" y="0"/>
          <a:ext cx="0" cy="0"/>
          <a:chOff x="0" y="0"/>
          <a:chExt cx="0" cy="0"/>
        </a:xfrm>
      </p:grpSpPr>
      <p:pic>
        <p:nvPicPr>
          <p:cNvPr id="12"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8" y="746975"/>
            <a:ext cx="11281894"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696965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dor 05">
    <p:spTree>
      <p:nvGrpSpPr>
        <p:cNvPr id="1" name=""/>
        <p:cNvGrpSpPr/>
        <p:nvPr/>
      </p:nvGrpSpPr>
      <p:grpSpPr>
        <a:xfrm>
          <a:off x="0" y="0"/>
          <a:ext cx="0" cy="0"/>
          <a:chOff x="0" y="0"/>
          <a:chExt cx="0" cy="0"/>
        </a:xfrm>
      </p:grpSpPr>
      <p:sp>
        <p:nvSpPr>
          <p:cNvPr id="10" name="object 2"/>
          <p:cNvSpPr/>
          <p:nvPr userDrawn="1"/>
        </p:nvSpPr>
        <p:spPr>
          <a:xfrm>
            <a:off x="463639" y="746975"/>
            <a:ext cx="11281894"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1" name="Imagen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071511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dor 06">
    <p:spTree>
      <p:nvGrpSpPr>
        <p:cNvPr id="1" name=""/>
        <p:cNvGrpSpPr/>
        <p:nvPr/>
      </p:nvGrpSpPr>
      <p:grpSpPr>
        <a:xfrm>
          <a:off x="0" y="0"/>
          <a:ext cx="0" cy="0"/>
          <a:chOff x="0" y="0"/>
          <a:chExt cx="0" cy="0"/>
        </a:xfrm>
      </p:grpSpPr>
      <p:pic>
        <p:nvPicPr>
          <p:cNvPr id="11"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463638" y="746975"/>
            <a:ext cx="11281893" cy="5684918"/>
          </a:xfrm>
          <a:prstGeom prst="rect">
            <a:avLst/>
          </a:prstGeom>
          <a:ln w="12700">
            <a:miter lim="400000"/>
          </a:ln>
        </p:spPr>
      </p:pic>
      <p:sp>
        <p:nvSpPr>
          <p:cNvPr id="12" name="Rectángulo 10"/>
          <p:cNvSpPr/>
          <p:nvPr userDrawn="1"/>
        </p:nvSpPr>
        <p:spPr>
          <a:xfrm>
            <a:off x="463639" y="746975"/>
            <a:ext cx="11281892" cy="5684918"/>
          </a:xfrm>
          <a:prstGeom prst="rect">
            <a:avLst/>
          </a:prstGeom>
          <a:gradFill>
            <a:gsLst>
              <a:gs pos="9000">
                <a:srgbClr val="000000">
                  <a:alpha val="51000"/>
                </a:srgbClr>
              </a:gs>
              <a:gs pos="100000">
                <a:srgbClr val="E2E2E2">
                  <a:alpha val="0"/>
                </a:srgbClr>
              </a:gs>
            </a:gsLst>
          </a:gradFill>
          <a:ln w="12700">
            <a:miter lim="400000"/>
          </a:ln>
        </p:spPr>
        <p:txBody>
          <a:bodyPr lIns="45719" rIns="45719" anchor="ctr"/>
          <a:lstStyle/>
          <a:p>
            <a:pPr algn="ctr">
              <a:defRPr>
                <a:solidFill>
                  <a:srgbClr val="FFFFFF"/>
                </a:solidFill>
              </a:defRPr>
            </a:pPr>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5" name="Imagen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9"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0"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7" name="Imagen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984472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8" name="Marcador de texto 24"/>
          <p:cNvSpPr>
            <a:spLocks noGrp="1"/>
          </p:cNvSpPr>
          <p:nvPr>
            <p:ph type="body" sz="quarter" idx="16" hasCustomPrompt="1"/>
          </p:nvPr>
        </p:nvSpPr>
        <p:spPr>
          <a:xfrm>
            <a:off x="3834884"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1. CAF TÍTULO</a:t>
            </a:r>
          </a:p>
        </p:txBody>
      </p:sp>
      <p:sp>
        <p:nvSpPr>
          <p:cNvPr id="13" name="Marcador de texto 24"/>
          <p:cNvSpPr>
            <a:spLocks noGrp="1"/>
          </p:cNvSpPr>
          <p:nvPr>
            <p:ph type="body" sz="quarter" idx="18" hasCustomPrompt="1"/>
          </p:nvPr>
        </p:nvSpPr>
        <p:spPr>
          <a:xfrm>
            <a:off x="8515960"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14" name="Marcador de texto 24"/>
          <p:cNvSpPr>
            <a:spLocks noGrp="1"/>
          </p:cNvSpPr>
          <p:nvPr>
            <p:ph type="body" sz="quarter" idx="19" hasCustomPrompt="1"/>
          </p:nvPr>
        </p:nvSpPr>
        <p:spPr>
          <a:xfrm>
            <a:off x="6175422"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pic>
        <p:nvPicPr>
          <p:cNvPr id="15" name="object 3" descr="object 3"/>
          <p:cNvPicPr>
            <a:picLocks noChangeAspect="1"/>
          </p:cNvPicPr>
          <p:nvPr userDrawn="1"/>
        </p:nvPicPr>
        <p:blipFill>
          <a:blip r:embed="rId2"/>
          <a:stretch>
            <a:fillRect/>
          </a:stretch>
        </p:blipFill>
        <p:spPr>
          <a:xfrm>
            <a:off x="2160667" y="2916324"/>
            <a:ext cx="9584865" cy="3134288"/>
          </a:xfrm>
          <a:prstGeom prst="rect">
            <a:avLst/>
          </a:prstGeom>
          <a:ln w="12700">
            <a:miter lim="400000"/>
          </a:ln>
        </p:spPr>
      </p:pic>
      <p:pic>
        <p:nvPicPr>
          <p:cNvPr id="16" name="object 4" descr="object 4"/>
          <p:cNvPicPr>
            <a:picLocks noChangeAspect="1"/>
          </p:cNvPicPr>
          <p:nvPr userDrawn="1"/>
        </p:nvPicPr>
        <p:blipFill>
          <a:blip r:embed="rId3"/>
          <a:stretch>
            <a:fillRect/>
          </a:stretch>
        </p:blipFill>
        <p:spPr>
          <a:xfrm>
            <a:off x="463645" y="2886064"/>
            <a:ext cx="4656156" cy="3508286"/>
          </a:xfrm>
          <a:prstGeom prst="rect">
            <a:avLst/>
          </a:prstGeom>
          <a:ln w="12700">
            <a:miter lim="400000"/>
          </a:ln>
        </p:spPr>
      </p:pic>
      <p:sp>
        <p:nvSpPr>
          <p:cNvPr id="18"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1.1 TITULAR </a:t>
            </a:r>
          </a:p>
        </p:txBody>
      </p:sp>
      <p:sp>
        <p:nvSpPr>
          <p:cNvPr id="19"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20"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20" name="Imagen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86751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 + imágen + gráfic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2.1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3" name="Marcador de posición de imagen 2"/>
          <p:cNvSpPr>
            <a:spLocks noGrp="1"/>
          </p:cNvSpPr>
          <p:nvPr>
            <p:ph type="pic" sz="quarter" idx="20"/>
          </p:nvPr>
        </p:nvSpPr>
        <p:spPr>
          <a:xfrm>
            <a:off x="463550" y="2897188"/>
            <a:ext cx="4957763" cy="3362325"/>
          </a:xfrm>
        </p:spPr>
        <p:txBody>
          <a:bodyPr>
            <a:normAutofit/>
          </a:bodyPr>
          <a:lstStyle>
            <a:lvl1pPr>
              <a:defRPr sz="1800"/>
            </a:lvl1pPr>
          </a:lstStyle>
          <a:p>
            <a:r>
              <a:rPr lang="es-ES"/>
              <a:t>Haga clic en el icono para agregar una imagen</a:t>
            </a:r>
            <a:endParaRPr lang="es-ES" dirty="0"/>
          </a:p>
        </p:txBody>
      </p:sp>
      <p:sp>
        <p:nvSpPr>
          <p:cNvPr id="18"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5" name="Marcador de gráfico 4"/>
          <p:cNvSpPr>
            <a:spLocks noGrp="1"/>
          </p:cNvSpPr>
          <p:nvPr>
            <p:ph type="chart" sz="quarter" idx="21"/>
          </p:nvPr>
        </p:nvSpPr>
        <p:spPr>
          <a:xfrm>
            <a:off x="5511800" y="2897188"/>
            <a:ext cx="6234113" cy="3362325"/>
          </a:xfrm>
        </p:spPr>
        <p:txBody>
          <a:bodyPr>
            <a:normAutofit/>
          </a:bodyPr>
          <a:lstStyle>
            <a:lvl1pPr>
              <a:defRPr sz="1800"/>
            </a:lvl1pPr>
          </a:lstStyle>
          <a:p>
            <a:r>
              <a:rPr lang="es-ES"/>
              <a:t>Haga clic en el icono para agregar un gráfico</a:t>
            </a:r>
          </a:p>
        </p:txBody>
      </p:sp>
      <p:sp>
        <p:nvSpPr>
          <p:cNvPr id="19" name="Marcador de texto 24"/>
          <p:cNvSpPr>
            <a:spLocks noGrp="1"/>
          </p:cNvSpPr>
          <p:nvPr>
            <p:ph type="body" sz="quarter" idx="22" hasCustomPrompt="1"/>
          </p:nvPr>
        </p:nvSpPr>
        <p:spPr>
          <a:xfrm>
            <a:off x="6797903" y="1364623"/>
            <a:ext cx="4046108" cy="1390249"/>
          </a:xfrm>
        </p:spPr>
        <p:txBody>
          <a:bodyPr lIns="108000" bIns="46800">
            <a:normAutofit/>
          </a:bodyPr>
          <a:lstStyle>
            <a:lvl1pPr marL="0" indent="0" algn="ctr">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metarios destacados</a:t>
            </a:r>
          </a:p>
          <a:p>
            <a:pPr lvl="0"/>
            <a:endParaRPr lang="es-ES" dirty="0"/>
          </a:p>
          <a:p>
            <a:pPr lvl="0"/>
            <a:endParaRPr lang="es-ES" dirty="0"/>
          </a:p>
          <a:p>
            <a:pPr lvl="0"/>
            <a:r>
              <a:rPr lang="es-ES" dirty="0"/>
              <a:t>Comentarios destacados</a:t>
            </a:r>
          </a:p>
          <a:p>
            <a:pPr lvl="0"/>
            <a:endParaRPr lang="es-ES" dirty="0"/>
          </a:p>
          <a:p>
            <a:pPr lvl="0"/>
            <a:endParaRPr lang="es-ES" dirty="0"/>
          </a:p>
        </p:txBody>
      </p:sp>
      <p:cxnSp>
        <p:nvCxnSpPr>
          <p:cNvPr id="7" name="Conector recto 6"/>
          <p:cNvCxnSpPr/>
          <p:nvPr userDrawn="1"/>
        </p:nvCxnSpPr>
        <p:spPr>
          <a:xfrm flipV="1">
            <a:off x="7508383" y="1970468"/>
            <a:ext cx="2807594" cy="12878"/>
          </a:xfrm>
          <a:prstGeom prst="line">
            <a:avLst/>
          </a:prstGeom>
        </p:spPr>
        <p:style>
          <a:lnRef idx="1">
            <a:schemeClr val="dk1"/>
          </a:lnRef>
          <a:fillRef idx="0">
            <a:schemeClr val="dk1"/>
          </a:fillRef>
          <a:effectRef idx="0">
            <a:schemeClr val="dk1"/>
          </a:effectRef>
          <a:fontRef idx="minor">
            <a:schemeClr val="tx1"/>
          </a:fontRef>
        </p:style>
      </p:cxnSp>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4" name="Imagen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7599937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pa editable">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2.2 MAPA EDITABLE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18" name="Marcador de texto 24"/>
          <p:cNvSpPr>
            <a:spLocks noGrp="1"/>
          </p:cNvSpPr>
          <p:nvPr>
            <p:ph type="body" sz="quarter" idx="14" hasCustomPrompt="1"/>
          </p:nvPr>
        </p:nvSpPr>
        <p:spPr>
          <a:xfrm>
            <a:off x="463644" y="1364625"/>
            <a:ext cx="5048156" cy="618722"/>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Editar mapa disponible en la carpeta de Masters e insertar aquí.</a:t>
            </a:r>
          </a:p>
          <a:p>
            <a:pPr lvl="0"/>
            <a:endParaRPr lang="es-ES" dirty="0"/>
          </a:p>
          <a:p>
            <a:pPr lvl="0"/>
            <a:endParaRPr lang="es-ES" dirty="0"/>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962300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a /Gráfico /SmartART /Imagen /Link /Víde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4816694"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3.1 TITULAR</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3. CAF TÍTULO</a:t>
            </a:r>
          </a:p>
        </p:txBody>
      </p:sp>
      <p:sp>
        <p:nvSpPr>
          <p:cNvPr id="3" name="Marcador de contenido 2"/>
          <p:cNvSpPr>
            <a:spLocks noGrp="1"/>
          </p:cNvSpPr>
          <p:nvPr>
            <p:ph sz="quarter" idx="18" hasCustomPrompt="1"/>
          </p:nvPr>
        </p:nvSpPr>
        <p:spPr>
          <a:xfrm>
            <a:off x="1144588" y="1968500"/>
            <a:ext cx="8624887" cy="3856038"/>
          </a:xfrm>
        </p:spPr>
        <p:txBody>
          <a:bodyPr>
            <a:normAutofit/>
          </a:bodyPr>
          <a:lstStyle>
            <a:lvl1pPr>
              <a:defRPr sz="1800" baseline="0"/>
            </a:lvl1pPr>
            <a:lvl2pPr>
              <a:defRPr sz="1800" baseline="0"/>
            </a:lvl2pPr>
          </a:lstStyle>
          <a:p>
            <a:pPr lvl="0"/>
            <a:r>
              <a:rPr lang="es-ES" dirty="0"/>
              <a:t>INSERTAR =&gt;  contenido</a:t>
            </a:r>
          </a:p>
          <a:p>
            <a:pPr lvl="1"/>
            <a:r>
              <a:rPr lang="es-ES" dirty="0"/>
              <a:t>Tabla</a:t>
            </a:r>
          </a:p>
          <a:p>
            <a:pPr lvl="1"/>
            <a:r>
              <a:rPr lang="es-ES" dirty="0"/>
              <a:t>Gráfico</a:t>
            </a:r>
          </a:p>
          <a:p>
            <a:pPr lvl="1"/>
            <a:r>
              <a:rPr lang="es-ES" dirty="0"/>
              <a:t>SmartArt</a:t>
            </a:r>
          </a:p>
          <a:p>
            <a:pPr lvl="1"/>
            <a:r>
              <a:rPr lang="es-ES" dirty="0"/>
              <a:t>Imagen</a:t>
            </a:r>
          </a:p>
          <a:p>
            <a:pPr lvl="1"/>
            <a:r>
              <a:rPr lang="es-ES" dirty="0"/>
              <a:t>Link web</a:t>
            </a:r>
          </a:p>
          <a:p>
            <a:pPr lvl="1"/>
            <a:r>
              <a:rPr lang="es-ES" dirty="0"/>
              <a:t>Vídeo</a:t>
            </a:r>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3.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49175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strucciones">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591064" y="6356350"/>
            <a:ext cx="2743200" cy="365125"/>
          </a:xfrm>
          <a:prstGeom prst="rect">
            <a:avLst/>
          </a:prstGeom>
        </p:spPr>
        <p:txBody>
          <a:bodyPr/>
          <a:lstStyle/>
          <a:p>
            <a:endParaRPr lang="es-ES" dirty="0"/>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6FB546C-7291-4B80-8780-14CE34EA4570}" type="slidenum">
              <a:rPr lang="es-ES" smtClean="0"/>
              <a:t>‹Nº›</a:t>
            </a:fld>
            <a:endParaRPr lang="es-ES"/>
          </a:p>
        </p:txBody>
      </p:sp>
      <p:sp>
        <p:nvSpPr>
          <p:cNvPr id="7" name="Marcador de título 1"/>
          <p:cNvSpPr>
            <a:spLocks noGrp="1"/>
          </p:cNvSpPr>
          <p:nvPr>
            <p:ph type="title"/>
          </p:nvPr>
        </p:nvSpPr>
        <p:spPr>
          <a:xfrm>
            <a:off x="591064" y="365125"/>
            <a:ext cx="10762736" cy="1325563"/>
          </a:xfrm>
          <a:prstGeom prst="rect">
            <a:avLst/>
          </a:prstGeom>
        </p:spPr>
        <p:txBody>
          <a:bodyPr vert="horz" lIns="91440" tIns="45720" rIns="91440" bIns="45720" rtlCol="0" anchor="ctr">
            <a:normAutofit/>
          </a:bodyPr>
          <a:lstStyle/>
          <a:p>
            <a:r>
              <a:rPr lang="es-ES"/>
              <a:t>Haga clic para modificar el estilo de título del patrón</a:t>
            </a:r>
            <a:endParaRPr lang="es-ES" dirty="0"/>
          </a:p>
        </p:txBody>
      </p:sp>
      <p:sp>
        <p:nvSpPr>
          <p:cNvPr id="3" name="Marcador de texto 2"/>
          <p:cNvSpPr>
            <a:spLocks noGrp="1"/>
          </p:cNvSpPr>
          <p:nvPr>
            <p:ph type="body" sz="quarter" idx="13" hasCustomPrompt="1"/>
          </p:nvPr>
        </p:nvSpPr>
        <p:spPr>
          <a:xfrm>
            <a:off x="590550" y="1779588"/>
            <a:ext cx="10763250" cy="4473575"/>
          </a:xfrm>
        </p:spPr>
        <p:txBody>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s-ES" sz="2400" b="0" kern="1200" baseline="0" dirty="0" smtClean="0">
                <a:solidFill>
                  <a:schemeClr val="tx1"/>
                </a:solidFill>
                <a:latin typeface="+mn-lt"/>
                <a:ea typeface="+mn-ea"/>
                <a:cs typeface="+mn-cs"/>
              </a:defRPr>
            </a:lvl1pPr>
            <a:lvl2pPr>
              <a:defRPr/>
            </a:lvl2pPr>
          </a:lstStyle>
          <a:p>
            <a:pPr lvl="0"/>
            <a:r>
              <a:rPr lang="es-ES" dirty="0"/>
              <a:t>Como incluir número de diapositiva o número de página</a:t>
            </a:r>
          </a:p>
          <a:p>
            <a:pPr lvl="1"/>
            <a:r>
              <a:rPr lang="es-ES" sz="1400" dirty="0"/>
              <a:t>Insertar / Número de Diapositiva /Seleccionar # </a:t>
            </a:r>
            <a:r>
              <a:rPr lang="es-ES" sz="1400" dirty="0" err="1"/>
              <a:t>diapo</a:t>
            </a:r>
            <a:r>
              <a:rPr lang="es-ES" sz="1400" dirty="0"/>
              <a:t> /Aplicar a todo (opción de poner o no # a portada)</a:t>
            </a:r>
          </a:p>
          <a:p>
            <a:pPr lvl="1"/>
            <a:endParaRPr lang="es-ES" sz="1400" dirty="0"/>
          </a:p>
          <a:p>
            <a:r>
              <a:rPr lang="es-ES" sz="2400" dirty="0"/>
              <a:t>Posibilidad de incluir índice a lo largo de la presentación </a:t>
            </a:r>
          </a:p>
          <a:p>
            <a:pPr lvl="1"/>
            <a:r>
              <a:rPr lang="es-ES" sz="1400" dirty="0"/>
              <a:t>Como pie de página</a:t>
            </a:r>
          </a:p>
          <a:p>
            <a:pPr lvl="1"/>
            <a:endParaRPr lang="es-ES" sz="1400" dirty="0"/>
          </a:p>
          <a:p>
            <a:pPr lvl="1"/>
            <a:endParaRPr lang="es-ES" sz="1400" dirty="0"/>
          </a:p>
          <a:p>
            <a:pPr lvl="1"/>
            <a:endParaRPr lang="es-ES" sz="1400" dirty="0"/>
          </a:p>
          <a:p>
            <a:pPr lvl="1"/>
            <a:endParaRPr lang="es-ES" sz="1400" dirty="0"/>
          </a:p>
          <a:p>
            <a:pPr marL="0" indent="0" algn="ctr">
              <a:buNone/>
            </a:pPr>
            <a:r>
              <a:rPr lang="es-ES" sz="2400" b="1" dirty="0"/>
              <a:t>Para empezar =&gt;  INICIO  /  NUEVA DIAPOSITIVA</a:t>
            </a:r>
          </a:p>
          <a:p>
            <a:endParaRPr lang="es-ES" sz="2400" dirty="0"/>
          </a:p>
          <a:p>
            <a:pPr lvl="1"/>
            <a:endParaRPr lang="es-ES" sz="1400" dirty="0"/>
          </a:p>
          <a:p>
            <a:pPr lvl="1"/>
            <a:endParaRPr lang="es-ES" sz="1400" dirty="0"/>
          </a:p>
        </p:txBody>
      </p:sp>
    </p:spTree>
    <p:extLst>
      <p:ext uri="{BB962C8B-B14F-4D97-AF65-F5344CB8AC3E}">
        <p14:creationId xmlns:p14="http://schemas.microsoft.com/office/powerpoint/2010/main" val="3640816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squem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927282" y="1207144"/>
            <a:ext cx="4816694" cy="316739"/>
          </a:xfrm>
        </p:spPr>
        <p:txBody>
          <a:bodyPr>
            <a:noAutofit/>
          </a:bodyPr>
          <a:lstStyle>
            <a:lvl1pPr marL="0" indent="0">
              <a:buNone/>
              <a:defRPr sz="2000" baseline="0">
                <a:latin typeface="Rubik Bold" pitchFamily="2" charset="-79"/>
                <a:cs typeface="Rubik Bold" pitchFamily="2" charset="-79"/>
              </a:defRPr>
            </a:lvl1pPr>
          </a:lstStyle>
          <a:p>
            <a:pPr lvl="0"/>
            <a:r>
              <a:rPr lang="es-ES" dirty="0"/>
              <a:t>4.1 TITULAR CON ICONO</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9" name="Google Shape;1572;g172c9b3c809_0_1497"/>
          <p:cNvSpPr/>
          <p:nvPr userDrawn="1"/>
        </p:nvSpPr>
        <p:spPr>
          <a:xfrm>
            <a:off x="298505" y="2042699"/>
            <a:ext cx="2213400" cy="3521102"/>
          </a:xfrm>
          <a:prstGeom prst="rect">
            <a:avLst/>
          </a:prstGeom>
          <a:solidFill>
            <a:srgbClr val="E4E9EC"/>
          </a:solidFill>
          <a:ln w="12700">
            <a:miter lim="400000"/>
          </a:ln>
        </p:spPr>
        <p:txBody>
          <a:bodyPr lIns="45719" rIns="45719"/>
          <a:lstStyle/>
          <a:p>
            <a:endParaRPr/>
          </a:p>
        </p:txBody>
      </p:sp>
      <p:sp>
        <p:nvSpPr>
          <p:cNvPr id="10" name="Google Shape;1582;g172c9b3c809_0_1497"/>
          <p:cNvSpPr/>
          <p:nvPr userDrawn="1"/>
        </p:nvSpPr>
        <p:spPr>
          <a:xfrm>
            <a:off x="457382" y="2829509"/>
            <a:ext cx="1899451" cy="1704001"/>
          </a:xfrm>
          <a:prstGeom prst="ellipse">
            <a:avLst/>
          </a:prstGeom>
          <a:ln w="12700">
            <a:solidFill>
              <a:srgbClr val="000000"/>
            </a:solidFill>
            <a:miter lim="400000"/>
          </a:ln>
        </p:spPr>
        <p:txBody>
          <a:bodyPr lIns="45719" rIns="45719" anchor="ctr"/>
          <a:lstStyle/>
          <a:p>
            <a:endParaRPr/>
          </a:p>
        </p:txBody>
      </p:sp>
      <p:sp>
        <p:nvSpPr>
          <p:cNvPr id="22" name="Marcador de texto 24"/>
          <p:cNvSpPr>
            <a:spLocks noGrp="1"/>
          </p:cNvSpPr>
          <p:nvPr>
            <p:ph type="body" sz="quarter" idx="20" hasCustomPrompt="1"/>
          </p:nvPr>
        </p:nvSpPr>
        <p:spPr>
          <a:xfrm>
            <a:off x="625142"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36" name="Marcador de texto 24"/>
          <p:cNvSpPr>
            <a:spLocks noGrp="1"/>
          </p:cNvSpPr>
          <p:nvPr>
            <p:ph type="body" sz="quarter" idx="31" hasCustomPrompt="1"/>
          </p:nvPr>
        </p:nvSpPr>
        <p:spPr>
          <a:xfrm>
            <a:off x="730966"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6" name="Marcador de texto 5"/>
          <p:cNvSpPr>
            <a:spLocks noGrp="1"/>
          </p:cNvSpPr>
          <p:nvPr>
            <p:ph type="body" sz="quarter" idx="36" hasCustomPrompt="1"/>
          </p:nvPr>
        </p:nvSpPr>
        <p:spPr>
          <a:xfrm>
            <a:off x="457382"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2087845"/>
            <a:ext cx="323116" cy="377985"/>
          </a:xfrm>
          <a:prstGeom prst="rect">
            <a:avLst/>
          </a:prstGeom>
        </p:spPr>
      </p:pic>
      <p:pic>
        <p:nvPicPr>
          <p:cNvPr id="69" name="Imagen 6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9029" y="1115778"/>
            <a:ext cx="488825" cy="571833"/>
          </a:xfrm>
          <a:prstGeom prst="rect">
            <a:avLst/>
          </a:prstGeom>
        </p:spPr>
      </p:pic>
      <p:sp>
        <p:nvSpPr>
          <p:cNvPr id="70" name="Google Shape;1572;g172c9b3c809_0_1497"/>
          <p:cNvSpPr/>
          <p:nvPr userDrawn="1"/>
        </p:nvSpPr>
        <p:spPr>
          <a:xfrm>
            <a:off x="2645024" y="2042699"/>
            <a:ext cx="2213400" cy="3521102"/>
          </a:xfrm>
          <a:prstGeom prst="rect">
            <a:avLst/>
          </a:prstGeom>
          <a:solidFill>
            <a:srgbClr val="E4E9EC"/>
          </a:solidFill>
          <a:ln w="12700">
            <a:miter lim="400000"/>
          </a:ln>
        </p:spPr>
        <p:txBody>
          <a:bodyPr lIns="45719" rIns="45719"/>
          <a:lstStyle/>
          <a:p>
            <a:endParaRPr/>
          </a:p>
        </p:txBody>
      </p:sp>
      <p:sp>
        <p:nvSpPr>
          <p:cNvPr id="71" name="Google Shape;1582;g172c9b3c809_0_1497"/>
          <p:cNvSpPr/>
          <p:nvPr userDrawn="1"/>
        </p:nvSpPr>
        <p:spPr>
          <a:xfrm>
            <a:off x="2803901" y="2829509"/>
            <a:ext cx="1899451" cy="1704001"/>
          </a:xfrm>
          <a:prstGeom prst="ellipse">
            <a:avLst/>
          </a:prstGeom>
          <a:ln w="12700">
            <a:solidFill>
              <a:srgbClr val="000000"/>
            </a:solidFill>
            <a:miter lim="400000"/>
          </a:ln>
        </p:spPr>
        <p:txBody>
          <a:bodyPr lIns="45719" rIns="45719" anchor="ctr"/>
          <a:lstStyle/>
          <a:p>
            <a:endParaRPr/>
          </a:p>
        </p:txBody>
      </p:sp>
      <p:sp>
        <p:nvSpPr>
          <p:cNvPr id="72" name="Marcador de texto 24"/>
          <p:cNvSpPr>
            <a:spLocks noGrp="1"/>
          </p:cNvSpPr>
          <p:nvPr>
            <p:ph type="body" sz="quarter" idx="37" hasCustomPrompt="1"/>
          </p:nvPr>
        </p:nvSpPr>
        <p:spPr>
          <a:xfrm>
            <a:off x="2971661"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3" name="Marcador de texto 24"/>
          <p:cNvSpPr>
            <a:spLocks noGrp="1"/>
          </p:cNvSpPr>
          <p:nvPr>
            <p:ph type="body" sz="quarter" idx="38" hasCustomPrompt="1"/>
          </p:nvPr>
        </p:nvSpPr>
        <p:spPr>
          <a:xfrm>
            <a:off x="3077485"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74" name="Marcador de texto 5"/>
          <p:cNvSpPr>
            <a:spLocks noGrp="1"/>
          </p:cNvSpPr>
          <p:nvPr>
            <p:ph type="body" sz="quarter" idx="39" hasCustomPrompt="1"/>
          </p:nvPr>
        </p:nvSpPr>
        <p:spPr>
          <a:xfrm>
            <a:off x="2803901"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5" name="Imagen 7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4101" y="2087845"/>
            <a:ext cx="323116" cy="377985"/>
          </a:xfrm>
          <a:prstGeom prst="rect">
            <a:avLst/>
          </a:prstGeom>
        </p:spPr>
      </p:pic>
      <p:sp>
        <p:nvSpPr>
          <p:cNvPr id="76" name="Google Shape;1572;g172c9b3c809_0_1497"/>
          <p:cNvSpPr/>
          <p:nvPr userDrawn="1"/>
        </p:nvSpPr>
        <p:spPr>
          <a:xfrm>
            <a:off x="4995670" y="2042699"/>
            <a:ext cx="2213400" cy="3521102"/>
          </a:xfrm>
          <a:prstGeom prst="rect">
            <a:avLst/>
          </a:prstGeom>
          <a:solidFill>
            <a:srgbClr val="E4E9EC"/>
          </a:solidFill>
          <a:ln w="12700">
            <a:miter lim="400000"/>
          </a:ln>
        </p:spPr>
        <p:txBody>
          <a:bodyPr lIns="45719" rIns="45719"/>
          <a:lstStyle/>
          <a:p>
            <a:endParaRPr/>
          </a:p>
        </p:txBody>
      </p:sp>
      <p:sp>
        <p:nvSpPr>
          <p:cNvPr id="77" name="Google Shape;1582;g172c9b3c809_0_1497"/>
          <p:cNvSpPr/>
          <p:nvPr userDrawn="1"/>
        </p:nvSpPr>
        <p:spPr>
          <a:xfrm>
            <a:off x="5154547" y="2829509"/>
            <a:ext cx="1899451" cy="1704001"/>
          </a:xfrm>
          <a:prstGeom prst="ellipse">
            <a:avLst/>
          </a:prstGeom>
          <a:ln w="12700">
            <a:solidFill>
              <a:srgbClr val="000000"/>
            </a:solidFill>
            <a:miter lim="400000"/>
          </a:ln>
        </p:spPr>
        <p:txBody>
          <a:bodyPr lIns="45719" rIns="45719" anchor="ctr"/>
          <a:lstStyle/>
          <a:p>
            <a:endParaRPr/>
          </a:p>
        </p:txBody>
      </p:sp>
      <p:sp>
        <p:nvSpPr>
          <p:cNvPr id="78" name="Marcador de texto 24"/>
          <p:cNvSpPr>
            <a:spLocks noGrp="1"/>
          </p:cNvSpPr>
          <p:nvPr>
            <p:ph type="body" sz="quarter" idx="40" hasCustomPrompt="1"/>
          </p:nvPr>
        </p:nvSpPr>
        <p:spPr>
          <a:xfrm>
            <a:off x="5322307"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9" name="Marcador de texto 24"/>
          <p:cNvSpPr>
            <a:spLocks noGrp="1"/>
          </p:cNvSpPr>
          <p:nvPr>
            <p:ph type="body" sz="quarter" idx="41" hasCustomPrompt="1"/>
          </p:nvPr>
        </p:nvSpPr>
        <p:spPr>
          <a:xfrm>
            <a:off x="5428131"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0" name="Marcador de texto 5"/>
          <p:cNvSpPr>
            <a:spLocks noGrp="1"/>
          </p:cNvSpPr>
          <p:nvPr>
            <p:ph type="body" sz="quarter" idx="42" hasCustomPrompt="1"/>
          </p:nvPr>
        </p:nvSpPr>
        <p:spPr>
          <a:xfrm>
            <a:off x="5154547"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1" name="Imagen 8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54747" y="2087845"/>
            <a:ext cx="323116" cy="377985"/>
          </a:xfrm>
          <a:prstGeom prst="rect">
            <a:avLst/>
          </a:prstGeom>
        </p:spPr>
      </p:pic>
      <p:sp>
        <p:nvSpPr>
          <p:cNvPr id="82" name="Google Shape;1572;g172c9b3c809_0_1497"/>
          <p:cNvSpPr/>
          <p:nvPr userDrawn="1"/>
        </p:nvSpPr>
        <p:spPr>
          <a:xfrm>
            <a:off x="7346316" y="2042699"/>
            <a:ext cx="2213400" cy="3521102"/>
          </a:xfrm>
          <a:prstGeom prst="rect">
            <a:avLst/>
          </a:prstGeom>
          <a:solidFill>
            <a:srgbClr val="E4E9EC"/>
          </a:solidFill>
          <a:ln w="12700">
            <a:miter lim="400000"/>
          </a:ln>
        </p:spPr>
        <p:txBody>
          <a:bodyPr lIns="45719" rIns="45719"/>
          <a:lstStyle/>
          <a:p>
            <a:endParaRPr/>
          </a:p>
        </p:txBody>
      </p:sp>
      <p:sp>
        <p:nvSpPr>
          <p:cNvPr id="83" name="Google Shape;1582;g172c9b3c809_0_1497"/>
          <p:cNvSpPr/>
          <p:nvPr userDrawn="1"/>
        </p:nvSpPr>
        <p:spPr>
          <a:xfrm>
            <a:off x="7505193" y="2829509"/>
            <a:ext cx="1899451" cy="1704001"/>
          </a:xfrm>
          <a:prstGeom prst="ellipse">
            <a:avLst/>
          </a:prstGeom>
          <a:ln w="12700">
            <a:solidFill>
              <a:srgbClr val="000000"/>
            </a:solidFill>
            <a:miter lim="400000"/>
          </a:ln>
        </p:spPr>
        <p:txBody>
          <a:bodyPr lIns="45719" rIns="45719" anchor="ctr"/>
          <a:lstStyle/>
          <a:p>
            <a:endParaRPr/>
          </a:p>
        </p:txBody>
      </p:sp>
      <p:sp>
        <p:nvSpPr>
          <p:cNvPr id="84" name="Marcador de texto 24"/>
          <p:cNvSpPr>
            <a:spLocks noGrp="1"/>
          </p:cNvSpPr>
          <p:nvPr>
            <p:ph type="body" sz="quarter" idx="43" hasCustomPrompt="1"/>
          </p:nvPr>
        </p:nvSpPr>
        <p:spPr>
          <a:xfrm>
            <a:off x="7672953"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85" name="Marcador de texto 24"/>
          <p:cNvSpPr>
            <a:spLocks noGrp="1"/>
          </p:cNvSpPr>
          <p:nvPr>
            <p:ph type="body" sz="quarter" idx="44" hasCustomPrompt="1"/>
          </p:nvPr>
        </p:nvSpPr>
        <p:spPr>
          <a:xfrm>
            <a:off x="7778777"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6" name="Marcador de texto 5"/>
          <p:cNvSpPr>
            <a:spLocks noGrp="1"/>
          </p:cNvSpPr>
          <p:nvPr>
            <p:ph type="body" sz="quarter" idx="45" hasCustomPrompt="1"/>
          </p:nvPr>
        </p:nvSpPr>
        <p:spPr>
          <a:xfrm>
            <a:off x="7505193"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7" name="Imagen 8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05393" y="2087845"/>
            <a:ext cx="323116" cy="377985"/>
          </a:xfrm>
          <a:prstGeom prst="rect">
            <a:avLst/>
          </a:prstGeom>
        </p:spPr>
      </p:pic>
      <p:sp>
        <p:nvSpPr>
          <p:cNvPr id="88" name="Google Shape;1572;g172c9b3c809_0_1497"/>
          <p:cNvSpPr/>
          <p:nvPr userDrawn="1"/>
        </p:nvSpPr>
        <p:spPr>
          <a:xfrm>
            <a:off x="9696962" y="2042699"/>
            <a:ext cx="2213400" cy="3521102"/>
          </a:xfrm>
          <a:prstGeom prst="rect">
            <a:avLst/>
          </a:prstGeom>
          <a:solidFill>
            <a:srgbClr val="E4E9EC"/>
          </a:solidFill>
          <a:ln w="12700">
            <a:miter lim="400000"/>
          </a:ln>
        </p:spPr>
        <p:txBody>
          <a:bodyPr lIns="45719" rIns="45719"/>
          <a:lstStyle/>
          <a:p>
            <a:endParaRPr/>
          </a:p>
        </p:txBody>
      </p:sp>
      <p:sp>
        <p:nvSpPr>
          <p:cNvPr id="89" name="Google Shape;1582;g172c9b3c809_0_1497"/>
          <p:cNvSpPr/>
          <p:nvPr userDrawn="1"/>
        </p:nvSpPr>
        <p:spPr>
          <a:xfrm>
            <a:off x="9855839" y="2829509"/>
            <a:ext cx="1899451" cy="1704001"/>
          </a:xfrm>
          <a:prstGeom prst="ellipse">
            <a:avLst/>
          </a:prstGeom>
          <a:ln w="12700">
            <a:solidFill>
              <a:srgbClr val="000000"/>
            </a:solidFill>
            <a:miter lim="400000"/>
          </a:ln>
        </p:spPr>
        <p:txBody>
          <a:bodyPr lIns="45719" rIns="45719" anchor="ctr"/>
          <a:lstStyle/>
          <a:p>
            <a:endParaRPr/>
          </a:p>
        </p:txBody>
      </p:sp>
      <p:sp>
        <p:nvSpPr>
          <p:cNvPr id="90" name="Marcador de texto 24"/>
          <p:cNvSpPr>
            <a:spLocks noGrp="1"/>
          </p:cNvSpPr>
          <p:nvPr>
            <p:ph type="body" sz="quarter" idx="46" hasCustomPrompt="1"/>
          </p:nvPr>
        </p:nvSpPr>
        <p:spPr>
          <a:xfrm>
            <a:off x="10023599"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91" name="Marcador de texto 24"/>
          <p:cNvSpPr>
            <a:spLocks noGrp="1"/>
          </p:cNvSpPr>
          <p:nvPr>
            <p:ph type="body" sz="quarter" idx="47" hasCustomPrompt="1"/>
          </p:nvPr>
        </p:nvSpPr>
        <p:spPr>
          <a:xfrm>
            <a:off x="10129423"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92" name="Marcador de texto 5"/>
          <p:cNvSpPr>
            <a:spLocks noGrp="1"/>
          </p:cNvSpPr>
          <p:nvPr>
            <p:ph type="body" sz="quarter" idx="48" hasCustomPrompt="1"/>
          </p:nvPr>
        </p:nvSpPr>
        <p:spPr>
          <a:xfrm>
            <a:off x="9855839"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93" name="Imagen 9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56039" y="2087845"/>
            <a:ext cx="323116" cy="377985"/>
          </a:xfrm>
          <a:prstGeom prst="rect">
            <a:avLst/>
          </a:prstGeom>
        </p:spPr>
      </p:pic>
      <p:sp>
        <p:nvSpPr>
          <p:cNvPr id="39" name="Marcador de posición de imagen 2"/>
          <p:cNvSpPr>
            <a:spLocks noGrp="1"/>
          </p:cNvSpPr>
          <p:nvPr>
            <p:ph type="pic" sz="quarter" idx="49" hasCustomPrompt="1"/>
          </p:nvPr>
        </p:nvSpPr>
        <p:spPr>
          <a:xfrm>
            <a:off x="298504" y="1116013"/>
            <a:ext cx="482545" cy="608153"/>
          </a:xfrm>
        </p:spPr>
        <p:txBody>
          <a:bodyPr>
            <a:noAutofit/>
          </a:bodyPr>
          <a:lstStyle>
            <a:lvl1pPr marL="0" indent="0">
              <a:lnSpc>
                <a:spcPct val="200000"/>
              </a:lnSpc>
              <a:buNone/>
              <a:defRPr sz="900"/>
            </a:lvl1pPr>
          </a:lstStyle>
          <a:p>
            <a:r>
              <a:rPr lang="es-ES" dirty="0"/>
              <a:t>Icono</a:t>
            </a:r>
          </a:p>
        </p:txBody>
      </p:sp>
      <p:sp>
        <p:nvSpPr>
          <p:cNvPr id="4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4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41" name="Imagen 4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076385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o con foto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2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numCol="2">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54911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o con foto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3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02477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o con foto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4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614929"/>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19" name="Forma libre 10"/>
          <p:cNvSpPr/>
          <p:nvPr userDrawn="1"/>
        </p:nvSpPr>
        <p:spPr>
          <a:xfrm>
            <a:off x="5324043" y="1626477"/>
            <a:ext cx="6421489" cy="4315822"/>
          </a:xfrm>
          <a:custGeom>
            <a:avLst/>
            <a:gdLst/>
            <a:ahLst/>
            <a:cxnLst>
              <a:cxn ang="0">
                <a:pos x="wd2" y="hd2"/>
              </a:cxn>
              <a:cxn ang="5400000">
                <a:pos x="wd2" y="hd2"/>
              </a:cxn>
              <a:cxn ang="10800000">
                <a:pos x="wd2" y="hd2"/>
              </a:cxn>
              <a:cxn ang="16200000">
                <a:pos x="wd2" y="hd2"/>
              </a:cxn>
            </a:cxnLst>
            <a:rect l="0" t="0" r="r" b="b"/>
            <a:pathLst>
              <a:path w="21600" h="21600" extrusionOk="0">
                <a:moveTo>
                  <a:pt x="21561" y="21600"/>
                </a:moveTo>
                <a:cubicBezTo>
                  <a:pt x="21574" y="14400"/>
                  <a:pt x="21587" y="7200"/>
                  <a:pt x="21600" y="0"/>
                </a:cubicBezTo>
                <a:lnTo>
                  <a:pt x="9000" y="58"/>
                </a:lnTo>
                <a:lnTo>
                  <a:pt x="0" y="21192"/>
                </a:lnTo>
                <a:lnTo>
                  <a:pt x="21600" y="21251"/>
                </a:lnTo>
              </a:path>
            </a:pathLst>
          </a:custGeom>
          <a:blipFill>
            <a:blip r:embed="rId2"/>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4285504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o con foto 04">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5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3" y="2232079"/>
            <a:ext cx="7727319" cy="3376397"/>
          </a:xfrm>
        </p:spPr>
        <p:txBody>
          <a:bodyPr lIns="108000" bIns="46800" numCol="3">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pic>
        <p:nvPicPr>
          <p:cNvPr id="19" name="object 11" descr="object 11"/>
          <p:cNvPicPr>
            <a:picLocks noChangeAspect="1"/>
          </p:cNvPicPr>
          <p:nvPr userDrawn="1"/>
        </p:nvPicPr>
        <p:blipFill>
          <a:blip r:embed="rId2"/>
          <a:stretch>
            <a:fillRect/>
          </a:stretch>
        </p:blipFill>
        <p:spPr>
          <a:xfrm>
            <a:off x="8367331" y="2232079"/>
            <a:ext cx="3378201" cy="3260196"/>
          </a:xfrm>
          <a:prstGeom prst="rect">
            <a:avLst/>
          </a:prstGeom>
          <a:ln w="12700">
            <a:miter lim="400000"/>
          </a:ln>
        </p:spPr>
      </p:pic>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1968312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squema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6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pic>
        <p:nvPicPr>
          <p:cNvPr id="10" name="Imagen 83" descr="Imagen 83"/>
          <p:cNvPicPr>
            <a:picLocks noChangeAspect="1"/>
          </p:cNvPicPr>
          <p:nvPr userDrawn="1"/>
        </p:nvPicPr>
        <p:blipFill>
          <a:blip r:embed="rId2"/>
          <a:stretch>
            <a:fillRect/>
          </a:stretch>
        </p:blipFill>
        <p:spPr>
          <a:xfrm>
            <a:off x="684544" y="1892300"/>
            <a:ext cx="3205726" cy="2247900"/>
          </a:xfrm>
          <a:prstGeom prst="rect">
            <a:avLst/>
          </a:prstGeom>
          <a:ln w="12700">
            <a:miter lim="400000"/>
          </a:ln>
        </p:spPr>
      </p:pic>
      <p:pic>
        <p:nvPicPr>
          <p:cNvPr id="11" name="Imagen 81" descr="Imagen 81"/>
          <p:cNvPicPr>
            <a:picLocks noChangeAspect="1"/>
          </p:cNvPicPr>
          <p:nvPr userDrawn="1"/>
        </p:nvPicPr>
        <p:blipFill>
          <a:blip r:embed="rId3"/>
          <a:stretch>
            <a:fillRect/>
          </a:stretch>
        </p:blipFill>
        <p:spPr>
          <a:xfrm>
            <a:off x="4315961" y="1892300"/>
            <a:ext cx="3205725" cy="2247900"/>
          </a:xfrm>
          <a:prstGeom prst="rect">
            <a:avLst/>
          </a:prstGeom>
          <a:ln w="12700">
            <a:miter lim="400000"/>
          </a:ln>
        </p:spPr>
      </p:pic>
      <p:pic>
        <p:nvPicPr>
          <p:cNvPr id="13" name="Imagen 82" descr="Imagen 82"/>
          <p:cNvPicPr>
            <a:picLocks noChangeAspect="1"/>
          </p:cNvPicPr>
          <p:nvPr userDrawn="1"/>
        </p:nvPicPr>
        <p:blipFill>
          <a:blip r:embed="rId4"/>
          <a:stretch>
            <a:fillRect/>
          </a:stretch>
        </p:blipFill>
        <p:spPr>
          <a:xfrm>
            <a:off x="7947378" y="1902432"/>
            <a:ext cx="3205726" cy="2237768"/>
          </a:xfrm>
          <a:prstGeom prst="rect">
            <a:avLst/>
          </a:prstGeom>
          <a:ln w="12700">
            <a:miter lim="400000"/>
          </a:ln>
        </p:spPr>
      </p:pic>
      <p:graphicFrame>
        <p:nvGraphicFramePr>
          <p:cNvPr id="16" name="Tabla 15"/>
          <p:cNvGraphicFramePr>
            <a:graphicFrameLocks noGrp="1"/>
          </p:cNvGraphicFramePr>
          <p:nvPr userDrawn="1">
            <p:extLst>
              <p:ext uri="{D42A27DB-BD31-4B8C-83A1-F6EECF244321}">
                <p14:modId xmlns:p14="http://schemas.microsoft.com/office/powerpoint/2010/main" val="4136790665"/>
              </p:ext>
            </p:extLst>
          </p:nvPr>
        </p:nvGraphicFramePr>
        <p:xfrm>
          <a:off x="4275198" y="4317514"/>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17" name="Tabla 16"/>
          <p:cNvGraphicFramePr>
            <a:graphicFrameLocks noGrp="1"/>
          </p:cNvGraphicFramePr>
          <p:nvPr userDrawn="1">
            <p:extLst>
              <p:ext uri="{D42A27DB-BD31-4B8C-83A1-F6EECF244321}">
                <p14:modId xmlns:p14="http://schemas.microsoft.com/office/powerpoint/2010/main" val="1066541852"/>
              </p:ext>
            </p:extLst>
          </p:nvPr>
        </p:nvGraphicFramePr>
        <p:xfrm>
          <a:off x="794737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21" name="Tabla 20"/>
          <p:cNvGraphicFramePr>
            <a:graphicFrameLocks noGrp="1"/>
          </p:cNvGraphicFramePr>
          <p:nvPr userDrawn="1">
            <p:extLst>
              <p:ext uri="{D42A27DB-BD31-4B8C-83A1-F6EECF244321}">
                <p14:modId xmlns:p14="http://schemas.microsoft.com/office/powerpoint/2010/main" val="1536400711"/>
              </p:ext>
            </p:extLst>
          </p:nvPr>
        </p:nvGraphicFramePr>
        <p:xfrm>
          <a:off x="60301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sp>
        <p:nvSpPr>
          <p:cNvPr id="18"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9"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5" name="Imagen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48934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ágenes con tabla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7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4" name="Marcador de tabla 4"/>
          <p:cNvSpPr>
            <a:spLocks noGrp="1"/>
          </p:cNvSpPr>
          <p:nvPr>
            <p:ph type="tbl" sz="quarter" idx="18"/>
          </p:nvPr>
        </p:nvSpPr>
        <p:spPr>
          <a:xfrm>
            <a:off x="478040" y="4099148"/>
            <a:ext cx="3217560" cy="2215281"/>
          </a:xfrm>
        </p:spPr>
        <p:txBody>
          <a:bodyPr>
            <a:normAutofit/>
          </a:bodyPr>
          <a:lstStyle>
            <a:lvl1pPr>
              <a:defRPr sz="1050"/>
            </a:lvl1pPr>
          </a:lstStyle>
          <a:p>
            <a:r>
              <a:rPr lang="es-ES"/>
              <a:t>Haga clic en el icono para agregar una tabla</a:t>
            </a:r>
            <a:endParaRPr lang="es-ES" dirty="0"/>
          </a:p>
        </p:txBody>
      </p:sp>
      <p:sp>
        <p:nvSpPr>
          <p:cNvPr id="15" name="Marcador de posición de imagen 3"/>
          <p:cNvSpPr>
            <a:spLocks noGrp="1"/>
          </p:cNvSpPr>
          <p:nvPr>
            <p:ph type="pic" sz="quarter" idx="15"/>
          </p:nvPr>
        </p:nvSpPr>
        <p:spPr>
          <a:xfrm>
            <a:off x="478040" y="1707971"/>
            <a:ext cx="3217563" cy="2207206"/>
          </a:xfrm>
        </p:spPr>
        <p:txBody>
          <a:bodyPr>
            <a:normAutofit/>
          </a:bodyPr>
          <a:lstStyle>
            <a:lvl1pPr>
              <a:defRPr sz="2000"/>
            </a:lvl1pPr>
          </a:lstStyle>
          <a:p>
            <a:r>
              <a:rPr lang="es-ES"/>
              <a:t>Haga clic en el icono para agregar una imagen</a:t>
            </a:r>
          </a:p>
        </p:txBody>
      </p:sp>
      <p:sp>
        <p:nvSpPr>
          <p:cNvPr id="18" name="Marcador de posición de imagen 3"/>
          <p:cNvSpPr>
            <a:spLocks noGrp="1"/>
          </p:cNvSpPr>
          <p:nvPr>
            <p:ph type="pic" sz="quarter" idx="16"/>
          </p:nvPr>
        </p:nvSpPr>
        <p:spPr>
          <a:xfrm>
            <a:off x="7522760" y="1713784"/>
            <a:ext cx="3217563" cy="2207206"/>
          </a:xfrm>
        </p:spPr>
        <p:txBody>
          <a:bodyPr>
            <a:normAutofit/>
          </a:bodyPr>
          <a:lstStyle>
            <a:lvl1pPr>
              <a:defRPr sz="2000"/>
            </a:lvl1pPr>
          </a:lstStyle>
          <a:p>
            <a:r>
              <a:rPr lang="es-ES"/>
              <a:t>Haga clic en el icono para agregar una imagen</a:t>
            </a:r>
          </a:p>
        </p:txBody>
      </p:sp>
      <p:sp>
        <p:nvSpPr>
          <p:cNvPr id="19" name="Marcador de posición de imagen 3"/>
          <p:cNvSpPr>
            <a:spLocks noGrp="1"/>
          </p:cNvSpPr>
          <p:nvPr>
            <p:ph type="pic" sz="quarter" idx="19"/>
          </p:nvPr>
        </p:nvSpPr>
        <p:spPr>
          <a:xfrm>
            <a:off x="4000400" y="1707971"/>
            <a:ext cx="3217563" cy="2207206"/>
          </a:xfrm>
        </p:spPr>
        <p:txBody>
          <a:bodyPr>
            <a:normAutofit/>
          </a:bodyPr>
          <a:lstStyle>
            <a:lvl1pPr>
              <a:defRPr sz="2000"/>
            </a:lvl1pPr>
          </a:lstStyle>
          <a:p>
            <a:r>
              <a:rPr lang="es-ES"/>
              <a:t>Haga clic en el icono para agregar una imagen</a:t>
            </a:r>
          </a:p>
        </p:txBody>
      </p:sp>
      <p:sp>
        <p:nvSpPr>
          <p:cNvPr id="20" name="Marcador de tabla 4"/>
          <p:cNvSpPr>
            <a:spLocks noGrp="1"/>
          </p:cNvSpPr>
          <p:nvPr>
            <p:ph type="tbl" sz="quarter" idx="20"/>
          </p:nvPr>
        </p:nvSpPr>
        <p:spPr>
          <a:xfrm>
            <a:off x="4000400" y="4099146"/>
            <a:ext cx="3217560" cy="2215281"/>
          </a:xfrm>
        </p:spPr>
        <p:txBody>
          <a:bodyPr>
            <a:normAutofit/>
          </a:bodyPr>
          <a:lstStyle>
            <a:lvl1pPr>
              <a:defRPr sz="1050"/>
            </a:lvl1pPr>
          </a:lstStyle>
          <a:p>
            <a:r>
              <a:rPr lang="es-ES"/>
              <a:t>Haga clic en el icono para agregar una tabla</a:t>
            </a:r>
            <a:endParaRPr lang="es-ES" dirty="0"/>
          </a:p>
        </p:txBody>
      </p:sp>
      <p:sp>
        <p:nvSpPr>
          <p:cNvPr id="22" name="Marcador de tabla 4"/>
          <p:cNvSpPr>
            <a:spLocks noGrp="1"/>
          </p:cNvSpPr>
          <p:nvPr>
            <p:ph type="tbl" sz="quarter" idx="21"/>
          </p:nvPr>
        </p:nvSpPr>
        <p:spPr>
          <a:xfrm>
            <a:off x="7522760" y="4099147"/>
            <a:ext cx="3217560" cy="2215281"/>
          </a:xfrm>
        </p:spPr>
        <p:txBody>
          <a:bodyPr>
            <a:normAutofit/>
          </a:bodyPr>
          <a:lstStyle>
            <a:lvl1pPr>
              <a:defRPr sz="1050"/>
            </a:lvl1pPr>
          </a:lstStyle>
          <a:p>
            <a:r>
              <a:rPr lang="es-ES"/>
              <a:t>Haga clic en el icono para agregar una tabla</a:t>
            </a:r>
            <a:endParaRPr lang="es-ES" dirty="0"/>
          </a:p>
        </p:txBody>
      </p:sp>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1" name="Marcador de texto 5"/>
          <p:cNvSpPr>
            <a:spLocks noGrp="1"/>
          </p:cNvSpPr>
          <p:nvPr>
            <p:ph type="body" sz="quarter" idx="22"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3" name="Imagen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269662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clusiones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19" name="Imagen 18"/>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584279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clusiones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2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2"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3" name="Imagen 2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16852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clusiones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63" name="Google Shape;3266;g172c9b3c809_0_3270"/>
          <p:cNvSpPr/>
          <p:nvPr userDrawn="1"/>
        </p:nvSpPr>
        <p:spPr>
          <a:xfrm>
            <a:off x="8873514"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4" name="Marcador de texto 24"/>
          <p:cNvSpPr>
            <a:spLocks noGrp="1"/>
          </p:cNvSpPr>
          <p:nvPr>
            <p:ph type="body" sz="quarter" idx="36" hasCustomPrompt="1"/>
          </p:nvPr>
        </p:nvSpPr>
        <p:spPr>
          <a:xfrm>
            <a:off x="9152403"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5" name="Marcador de texto 24"/>
          <p:cNvSpPr>
            <a:spLocks noGrp="1"/>
          </p:cNvSpPr>
          <p:nvPr>
            <p:ph type="body" sz="quarter" idx="37" hasCustomPrompt="1"/>
          </p:nvPr>
        </p:nvSpPr>
        <p:spPr>
          <a:xfrm>
            <a:off x="9146401"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6" name="Imagen 6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0601" y="3001211"/>
            <a:ext cx="323116" cy="377985"/>
          </a:xfrm>
          <a:prstGeom prst="rect">
            <a:avLst/>
          </a:prstGeom>
        </p:spPr>
      </p:pic>
      <p:sp>
        <p:nvSpPr>
          <p:cNvPr id="2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7" name="Imagen 2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77379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01">
    <p:spTree>
      <p:nvGrpSpPr>
        <p:cNvPr id="1" name=""/>
        <p:cNvGrpSpPr/>
        <p:nvPr/>
      </p:nvGrpSpPr>
      <p:grpSpPr>
        <a:xfrm>
          <a:off x="0" y="0"/>
          <a:ext cx="0" cy="0"/>
          <a:chOff x="0" y="0"/>
          <a:chExt cx="0" cy="0"/>
        </a:xfrm>
      </p:grpSpPr>
      <p:pic>
        <p:nvPicPr>
          <p:cNvPr id="12" name="object 3" descr="object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698" y="1371600"/>
            <a:ext cx="12193698" cy="5360988"/>
          </a:xfrm>
          <a:prstGeom prst="rect">
            <a:avLst/>
          </a:prstGeom>
          <a:ln w="12700">
            <a:miter lim="400000"/>
          </a:ln>
        </p:spPr>
      </p:pic>
      <p:sp>
        <p:nvSpPr>
          <p:cNvPr id="13" name="object 4"/>
          <p:cNvSpPr/>
          <p:nvPr userDrawn="1"/>
        </p:nvSpPr>
        <p:spPr>
          <a:xfrm>
            <a:off x="-16043" y="5374692"/>
            <a:ext cx="12314606"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mn-lt"/>
                <a:cs typeface="Rubik Medium"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1" name="Imagen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24528511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nal TrustInMotion">
    <p:spTree>
      <p:nvGrpSpPr>
        <p:cNvPr id="1" name=""/>
        <p:cNvGrpSpPr/>
        <p:nvPr/>
      </p:nvGrpSpPr>
      <p:grpSpPr>
        <a:xfrm>
          <a:off x="0" y="0"/>
          <a:ext cx="0" cy="0"/>
          <a:chOff x="0" y="0"/>
          <a:chExt cx="0" cy="0"/>
        </a:xfrm>
      </p:grpSpPr>
      <p:pic>
        <p:nvPicPr>
          <p:cNvPr id="8" name="Imagen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pic>
        <p:nvPicPr>
          <p:cNvPr id="6" name="Imagen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2759" y="5945319"/>
            <a:ext cx="2213113" cy="530225"/>
          </a:xfrm>
          <a:prstGeom prst="rect">
            <a:avLst/>
          </a:prstGeom>
        </p:spPr>
      </p:pic>
      <p:pic>
        <p:nvPicPr>
          <p:cNvPr id="2" name="Imagen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5608" y="5288483"/>
            <a:ext cx="2869923" cy="1282466"/>
          </a:xfrm>
          <a:prstGeom prst="rect">
            <a:avLst/>
          </a:prstGeom>
        </p:spPr>
      </p:pic>
    </p:spTree>
    <p:extLst>
      <p:ext uri="{BB962C8B-B14F-4D97-AF65-F5344CB8AC3E}">
        <p14:creationId xmlns:p14="http://schemas.microsoft.com/office/powerpoint/2010/main" val="697554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02">
    <p:spTree>
      <p:nvGrpSpPr>
        <p:cNvPr id="1" name=""/>
        <p:cNvGrpSpPr/>
        <p:nvPr/>
      </p:nvGrpSpPr>
      <p:grpSpPr>
        <a:xfrm>
          <a:off x="0" y="0"/>
          <a:ext cx="0" cy="0"/>
          <a:chOff x="0" y="0"/>
          <a:chExt cx="0" cy="0"/>
        </a:xfrm>
      </p:grpSpPr>
      <p:pic>
        <p:nvPicPr>
          <p:cNvPr id="15" name="Imagen 10"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75429"/>
            <a:ext cx="12192000" cy="5100285"/>
          </a:xfrm>
          <a:prstGeom prst="rect">
            <a:avLst/>
          </a:prstGeom>
          <a:ln w="12700">
            <a:miter lim="400000"/>
          </a:ln>
        </p:spPr>
      </p:pic>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4" name="Imagen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20" name="Imagen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3739304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03">
    <p:spTree>
      <p:nvGrpSpPr>
        <p:cNvPr id="1" name=""/>
        <p:cNvGrpSpPr/>
        <p:nvPr/>
      </p:nvGrpSpPr>
      <p:grpSpPr>
        <a:xfrm>
          <a:off x="0" y="0"/>
          <a:ext cx="0" cy="0"/>
          <a:chOff x="0" y="0"/>
          <a:chExt cx="0" cy="0"/>
        </a:xfrm>
      </p:grpSpPr>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2"/>
              </a:defRPr>
            </a:lvl1pPr>
          </a:lstStyle>
          <a:p>
            <a:pPr>
              <a:defRPr u="none">
                <a:uFillTx/>
              </a:defRPr>
            </a:pPr>
            <a:r>
              <a:rPr u="sng" dirty="0">
                <a:uFill>
                  <a:solidFill>
                    <a:srgbClr val="231F20"/>
                  </a:solidFill>
                </a:uFill>
                <a:hlinkClick r:id="rId2"/>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2" name="Google Shape;88;p1" descr="Google Shape;88;p1"/>
          <p:cNvPicPr>
            <a:picLocks noChangeAspect="1"/>
          </p:cNvPicPr>
          <p:nvPr userDrawn="1"/>
        </p:nvPicPr>
        <p:blipFill>
          <a:blip r:embed="rId3"/>
          <a:stretch>
            <a:fillRect/>
          </a:stretch>
        </p:blipFill>
        <p:spPr>
          <a:xfrm>
            <a:off x="10894063" y="1358691"/>
            <a:ext cx="1297938" cy="4149607"/>
          </a:xfrm>
          <a:prstGeom prst="rect">
            <a:avLst/>
          </a:prstGeom>
          <a:ln w="12700">
            <a:miter lim="400000"/>
          </a:ln>
        </p:spPr>
      </p:pic>
      <p:pic>
        <p:nvPicPr>
          <p:cNvPr id="17" name="Google Shape;89;p1" descr="Google Shape;89;p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8636" y="1358691"/>
            <a:ext cx="1450340" cy="4149607"/>
          </a:xfrm>
          <a:prstGeom prst="rect">
            <a:avLst/>
          </a:prstGeom>
          <a:ln w="12700">
            <a:miter lim="400000"/>
          </a:ln>
        </p:spPr>
      </p:pic>
      <p:pic>
        <p:nvPicPr>
          <p:cNvPr id="19" name="Google Shape;91;p1" descr="Google Shape;91;p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36990" y="1358691"/>
            <a:ext cx="3116560" cy="4159725"/>
          </a:xfrm>
          <a:prstGeom prst="rect">
            <a:avLst/>
          </a:prstGeom>
          <a:ln w="12700">
            <a:miter lim="400000"/>
          </a:ln>
        </p:spPr>
      </p:pic>
      <p:pic>
        <p:nvPicPr>
          <p:cNvPr id="20" name="Google Shape;92;p1" descr="Google Shape;92;p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5399" y="1361867"/>
            <a:ext cx="9169399" cy="4709224"/>
          </a:xfrm>
          <a:prstGeom prst="rect">
            <a:avLst/>
          </a:prstGeom>
          <a:ln w="12700">
            <a:miter lim="400000"/>
          </a:ln>
        </p:spPr>
      </p:pic>
      <p:pic>
        <p:nvPicPr>
          <p:cNvPr id="2" name="Imagen 1"/>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5" name="Imagen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1822579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Índice 01">
    <p:spTree>
      <p:nvGrpSpPr>
        <p:cNvPr id="1" name=""/>
        <p:cNvGrpSpPr/>
        <p:nvPr/>
      </p:nvGrpSpPr>
      <p:grpSpPr>
        <a:xfrm>
          <a:off x="0" y="0"/>
          <a:ext cx="0" cy="0"/>
          <a:chOff x="0" y="0"/>
          <a:chExt cx="0" cy="0"/>
        </a:xfrm>
      </p:grpSpPr>
      <p:pic>
        <p:nvPicPr>
          <p:cNvPr id="24" name="object 5" descr="object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44" y="3236711"/>
            <a:ext cx="11281887" cy="3237314"/>
          </a:xfrm>
          <a:prstGeom prst="rect">
            <a:avLst/>
          </a:prstGeom>
          <a:ln w="12700">
            <a:miter lim="400000"/>
          </a:ln>
        </p:spPr>
      </p:pic>
      <p:sp>
        <p:nvSpPr>
          <p:cNvPr id="5"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4"/>
            <a:ext cx="268182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976422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Índice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5"/>
            <a:ext cx="2681828" cy="1187720"/>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5" descr="Imagen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2129" y="2912354"/>
            <a:ext cx="10908402" cy="3554569"/>
          </a:xfrm>
          <a:prstGeom prst="rect">
            <a:avLst/>
          </a:prstGeom>
          <a:ln w="12700">
            <a:miter lim="400000"/>
          </a:ln>
        </p:spPr>
      </p:pic>
      <p:sp>
        <p:nvSpPr>
          <p:cNvPr id="12"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4" name="Imagen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18520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Índice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5" y="1196069"/>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463644" y="1522460"/>
            <a:ext cx="2807589" cy="4817719"/>
          </a:xfrm>
        </p:spPr>
        <p:txBody>
          <a:bodyPr lIns="108000" bIns="46800">
            <a:normAutofit/>
          </a:bodyPr>
          <a:lstStyle>
            <a:lvl1pPr marL="342900" indent="-342900">
              <a:buAutoNum type="arabicPeriod"/>
              <a:defRPr sz="130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NTENIDO</a:t>
            </a:r>
          </a:p>
          <a:p>
            <a:pPr lvl="0"/>
            <a:r>
              <a:rPr lang="es-ES" dirty="0"/>
              <a:t>CONTENIDO</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DIO</a:t>
            </a:r>
          </a:p>
          <a:p>
            <a:pPr lvl="0"/>
            <a:r>
              <a:rPr lang="es-ES" dirty="0"/>
              <a:t>CONTENIDO</a:t>
            </a:r>
          </a:p>
          <a:p>
            <a:pPr lvl="0"/>
            <a:endParaRPr lang="es-ES" dirty="0"/>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sp>
        <p:nvSpPr>
          <p:cNvPr id="13" name="Rectángulo 11"/>
          <p:cNvSpPr/>
          <p:nvPr userDrawn="1"/>
        </p:nvSpPr>
        <p:spPr>
          <a:xfrm>
            <a:off x="3482485" y="1228597"/>
            <a:ext cx="8263047" cy="5111582"/>
          </a:xfrm>
          <a:prstGeom prst="rect">
            <a:avLst/>
          </a:prstGeom>
          <a:blipFill>
            <a:blip r:embed="rId2"/>
            <a:stretch>
              <a:fillRect/>
            </a:stretch>
          </a:blipFill>
          <a:ln w="12700">
            <a:miter lim="400000"/>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9"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278542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becer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4000">
                <a:latin typeface="Rubik Bold" pitchFamily="2" charset="-79"/>
                <a:cs typeface="Rubik Bold" pitchFamily="2" charset="-79"/>
              </a:defRPr>
            </a:lvl1pPr>
          </a:lstStyle>
          <a:p>
            <a:pPr lvl="0"/>
            <a:r>
              <a:rPr lang="es-ES" dirty="0"/>
              <a:t>CABECERA TITULAR</a:t>
            </a:r>
          </a:p>
        </p:txBody>
      </p:sp>
      <p:pic>
        <p:nvPicPr>
          <p:cNvPr id="9" name="object 6" descr="object 6"/>
          <p:cNvPicPr>
            <a:picLocks noChangeAspect="1"/>
          </p:cNvPicPr>
          <p:nvPr userDrawn="1"/>
        </p:nvPicPr>
        <p:blipFill>
          <a:blip r:embed="rId2"/>
          <a:stretch>
            <a:fillRect/>
          </a:stretch>
        </p:blipFill>
        <p:spPr>
          <a:xfrm>
            <a:off x="8799948" y="1388063"/>
            <a:ext cx="3043251" cy="4416122"/>
          </a:xfrm>
          <a:prstGeom prst="rect">
            <a:avLst/>
          </a:prstGeom>
          <a:blipFill>
            <a:blip r:embed="rId3" cstate="email">
              <a:extLst>
                <a:ext uri="{28A0092B-C50C-407E-A947-70E740481C1C}">
                  <a14:useLocalDpi xmlns:a14="http://schemas.microsoft.com/office/drawing/2010/main"/>
                </a:ext>
              </a:extLst>
            </a:blip>
            <a:stretch>
              <a:fillRect/>
            </a:stretch>
          </a:blipFill>
          <a:ln w="25400">
            <a:solidFill>
              <a:srgbClr val="FFFFFF"/>
            </a:solidFill>
          </a:ln>
        </p:spPr>
      </p:pic>
      <p:pic>
        <p:nvPicPr>
          <p:cNvPr id="10" name="object 3" descr="objec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83812" y="1388063"/>
            <a:ext cx="4629331" cy="4416089"/>
          </a:xfrm>
          <a:prstGeom prst="rect">
            <a:avLst/>
          </a:prstGeom>
          <a:blipFill>
            <a:blip r:embed="rId5" cstate="email">
              <a:extLst>
                <a:ext uri="{28A0092B-C50C-407E-A947-70E740481C1C}">
                  <a14:useLocalDpi xmlns:a14="http://schemas.microsoft.com/office/drawing/2010/main"/>
                </a:ext>
              </a:extLst>
            </a:blip>
            <a:stretch>
              <a:fillRect/>
            </a:stretch>
          </a:blipFill>
          <a:ln w="25400">
            <a:solidFill>
              <a:srgbClr val="FFFFFF"/>
            </a:solidFill>
          </a:ln>
        </p:spPr>
      </p:pic>
      <p:sp>
        <p:nvSpPr>
          <p:cNvPr id="11" name="Forma libre 12"/>
          <p:cNvSpPr/>
          <p:nvPr userDrawn="1"/>
        </p:nvSpPr>
        <p:spPr>
          <a:xfrm>
            <a:off x="463645" y="1278257"/>
            <a:ext cx="7353831" cy="5012261"/>
          </a:xfrm>
          <a:custGeom>
            <a:avLst/>
            <a:gdLst/>
            <a:ahLst/>
            <a:cxnLst>
              <a:cxn ang="0">
                <a:pos x="wd2" y="hd2"/>
              </a:cxn>
              <a:cxn ang="5400000">
                <a:pos x="wd2" y="hd2"/>
              </a:cxn>
              <a:cxn ang="10800000">
                <a:pos x="wd2" y="hd2"/>
              </a:cxn>
              <a:cxn ang="16200000">
                <a:pos x="wd2" y="hd2"/>
              </a:cxn>
            </a:cxnLst>
            <a:rect l="0" t="0" r="r" b="b"/>
            <a:pathLst>
              <a:path w="21600" h="21600" extrusionOk="0">
                <a:moveTo>
                  <a:pt x="39" y="0"/>
                </a:moveTo>
                <a:cubicBezTo>
                  <a:pt x="26" y="7200"/>
                  <a:pt x="13" y="14400"/>
                  <a:pt x="0" y="21600"/>
                </a:cubicBezTo>
                <a:lnTo>
                  <a:pt x="12600" y="21542"/>
                </a:lnTo>
                <a:lnTo>
                  <a:pt x="21600" y="408"/>
                </a:lnTo>
                <a:lnTo>
                  <a:pt x="0" y="349"/>
                </a:lnTo>
              </a:path>
            </a:pathLst>
          </a:custGeom>
          <a:blipFill>
            <a:blip r:embed="rId6" cstate="email">
              <a:extLst>
                <a:ext uri="{28A0092B-C50C-407E-A947-70E740481C1C}">
                  <a14:useLocalDpi xmlns:a14="http://schemas.microsoft.com/office/drawing/2010/main"/>
                </a:ext>
              </a:extLst>
            </a:blip>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66408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PATRÓN PPT CAF</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endParaRPr lang="es-ES" sz="2400"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FB546C-7291-4B80-8780-14CE34EA4570}" type="slidenum">
              <a:rPr lang="es-ES" smtClean="0"/>
              <a:t>‹Nº›</a:t>
            </a:fld>
            <a:endParaRPr lang="es-ES"/>
          </a:p>
        </p:txBody>
      </p:sp>
      <p:sp>
        <p:nvSpPr>
          <p:cNvPr id="7" name="Marcador de fecha 6"/>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Tree>
    <p:extLst>
      <p:ext uri="{BB962C8B-B14F-4D97-AF65-F5344CB8AC3E}">
        <p14:creationId xmlns:p14="http://schemas.microsoft.com/office/powerpoint/2010/main" val="1522954573"/>
      </p:ext>
    </p:extLst>
  </p:cSld>
  <p:clrMap bg1="lt1" tx1="dk1" bg2="lt2" tx2="dk2" accent1="accent1" accent2="accent2" accent3="accent3" accent4="accent4" accent5="accent5" accent6="accent6" hlink="hlink" folHlink="folHlink"/>
  <p:sldLayoutIdLst>
    <p:sldLayoutId id="2147483649" r:id="rId1"/>
    <p:sldLayoutId id="2147483685"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84"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8" r:id="rId28"/>
    <p:sldLayoutId id="2147483677" r:id="rId29"/>
    <p:sldLayoutId id="2147483681" r:id="rId30"/>
  </p:sldLayoutIdLst>
  <p:hf hdr="0" ftr="0" dt="0"/>
  <p:txStyles>
    <p:titleStyle>
      <a:lvl1pPr algn="l" defTabSz="914400" rtl="0" eaLnBrk="1" latinLnBrk="0" hangingPunct="1">
        <a:lnSpc>
          <a:spcPct val="90000"/>
        </a:lnSpc>
        <a:spcBef>
          <a:spcPct val="0"/>
        </a:spcBef>
        <a:buNone/>
        <a:defRPr sz="4400" kern="1200" baseline="0">
          <a:solidFill>
            <a:schemeClr val="tx1"/>
          </a:solidFill>
          <a:latin typeface="Rubik Medium" pitchFamily="2" charset="-79"/>
          <a:ea typeface="+mj-ea"/>
          <a:cs typeface="Rubik Medium" pitchFamily="2" charset="-79"/>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a:xfrm>
            <a:off x="6316911" y="5657239"/>
            <a:ext cx="5667128" cy="577766"/>
          </a:xfrm>
        </p:spPr>
        <p:txBody>
          <a:bodyPr>
            <a:normAutofit fontScale="85000" lnSpcReduction="10000"/>
          </a:bodyPr>
          <a:lstStyle/>
          <a:p>
            <a:r>
              <a:rPr lang="en-US" sz="3800" b="1" dirty="0"/>
              <a:t>Aula CAF-EHU 2024-2025</a:t>
            </a:r>
          </a:p>
          <a:p>
            <a:endParaRPr lang="es-ES" sz="3800" b="1" dirty="0"/>
          </a:p>
          <a:p>
            <a:endParaRPr lang="es-ES" dirty="0"/>
          </a:p>
        </p:txBody>
      </p:sp>
      <p:sp>
        <p:nvSpPr>
          <p:cNvPr id="3" name="Marcador de texto 2"/>
          <p:cNvSpPr>
            <a:spLocks noGrp="1"/>
          </p:cNvSpPr>
          <p:nvPr>
            <p:ph type="body" sz="quarter" idx="11"/>
          </p:nvPr>
        </p:nvSpPr>
        <p:spPr/>
        <p:txBody>
          <a:bodyPr/>
          <a:lstStyle/>
          <a:p>
            <a:r>
              <a:rPr lang="es-ES" dirty="0"/>
              <a:t>Igor Lopez &lt;igor.lopez@caf.net&gt;</a:t>
            </a:r>
          </a:p>
          <a:p>
            <a:endParaRPr lang="es-ES" dirty="0"/>
          </a:p>
        </p:txBody>
      </p:sp>
    </p:spTree>
    <p:extLst>
      <p:ext uri="{BB962C8B-B14F-4D97-AF65-F5344CB8AC3E}">
        <p14:creationId xmlns:p14="http://schemas.microsoft.com/office/powerpoint/2010/main" val="1082845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819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10</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On-board video stream manager implementation (OB-VISMA)</a:t>
            </a: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n Goy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Iker Sobron</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Actualmente los vehículos ferroviarios cuentan con diferentes cámaras IP (CCTV, </a:t>
            </a:r>
            <a:r>
              <a:rPr lang="es-ES" dirty="0" err="1">
                <a:solidFill>
                  <a:srgbClr val="000000"/>
                </a:solidFill>
                <a:latin typeface="Times New Roman" panose="02020603050405020304" pitchFamily="18" charset="0"/>
              </a:rPr>
              <a:t>retrovisoras</a:t>
            </a:r>
            <a:r>
              <a:rPr lang="es-ES" dirty="0">
                <a:solidFill>
                  <a:srgbClr val="000000"/>
                </a:solidFill>
                <a:latin typeface="Times New Roman" panose="02020603050405020304" pitchFamily="18" charset="0"/>
              </a:rPr>
              <a:t>, </a:t>
            </a:r>
            <a:r>
              <a:rPr lang="es-ES" dirty="0" err="1">
                <a:solidFill>
                  <a:srgbClr val="000000"/>
                </a:solidFill>
                <a:latin typeface="Times New Roman" panose="02020603050405020304" pitchFamily="18" charset="0"/>
              </a:rPr>
              <a:t>etc</a:t>
            </a:r>
            <a:r>
              <a:rPr lang="es-ES" dirty="0">
                <a:solidFill>
                  <a:srgbClr val="000000"/>
                </a:solidFill>
                <a:latin typeface="Times New Roman" panose="02020603050405020304" pitchFamily="18" charset="0"/>
              </a:rPr>
              <a:t>) que envían su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de vídeo mediante RTSP. La capacidad de cómputo de dichas cámaras y sus capacidades de codificación son limitadas. La aparición de nuevas funciones como la conducción remota de vehículos, la inspección remota en caso de vehículos autónomos y los sistemas de percepción interior requiere captar dicho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y mandarlos a tierra de un forma eficiente y ajustada a las capacidades del canal. En este proyecto se desarrollará una función e recolección de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internos y </a:t>
            </a:r>
            <a:r>
              <a:rPr lang="es-ES" dirty="0" err="1">
                <a:solidFill>
                  <a:srgbClr val="000000"/>
                </a:solidFill>
                <a:latin typeface="Times New Roman" panose="02020603050405020304" pitchFamily="18" charset="0"/>
              </a:rPr>
              <a:t>transcoding</a:t>
            </a:r>
            <a:r>
              <a:rPr lang="es-ES" dirty="0">
                <a:solidFill>
                  <a:srgbClr val="000000"/>
                </a:solidFill>
                <a:latin typeface="Times New Roman" panose="02020603050405020304" pitchFamily="18" charset="0"/>
              </a:rPr>
              <a:t> d dicho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así como su envío a tierra ajustando las codificaciones y el marcado de paquetes mediante técnicas de </a:t>
            </a:r>
            <a:r>
              <a:rPr lang="es-ES" dirty="0" err="1">
                <a:solidFill>
                  <a:srgbClr val="000000"/>
                </a:solidFill>
                <a:latin typeface="Times New Roman" panose="02020603050405020304" pitchFamily="18" charset="0"/>
              </a:rPr>
              <a:t>QoS</a:t>
            </a:r>
            <a:r>
              <a:rPr lang="es-ES" dirty="0">
                <a:solidFill>
                  <a:srgbClr val="000000"/>
                </a:solidFill>
                <a:latin typeface="Times New Roman" panose="02020603050405020304" pitchFamily="18" charset="0"/>
              </a:rPr>
              <a:t> en base a las condiciones del canal. </a:t>
            </a:r>
          </a:p>
          <a:p>
            <a:pPr algn="just">
              <a:spcAft>
                <a:spcPts val="300"/>
              </a:spcAft>
            </a:pPr>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C/C++</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Docker.</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0405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11</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Arquitectura real-time </a:t>
            </a:r>
            <a:r>
              <a:rPr lang="es-ES" sz="2200" b="1">
                <a:solidFill>
                  <a:srgbClr val="000000"/>
                </a:solidFill>
                <a:latin typeface="Times New Roman" panose="02020603050405020304" pitchFamily="18" charset="0"/>
              </a:rPr>
              <a:t>para plataforma </a:t>
            </a:r>
            <a:r>
              <a:rPr lang="es-ES" sz="2200" b="1" dirty="0">
                <a:solidFill>
                  <a:srgbClr val="000000"/>
                </a:solidFill>
                <a:latin typeface="Times New Roman" panose="02020603050405020304" pitchFamily="18" charset="0"/>
              </a:rPr>
              <a:t>digital</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n Petraland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s-ES" dirty="0" err="1">
                <a:solidFill>
                  <a:srgbClr val="000000"/>
                </a:solidFill>
                <a:latin typeface="Times New Roman" panose="02020603050405020304" pitchFamily="18" charset="0"/>
              </a:rPr>
              <a:t>Mariví</a:t>
            </a:r>
            <a:r>
              <a:rPr lang="es-ES" dirty="0">
                <a:solidFill>
                  <a:srgbClr val="000000"/>
                </a:solidFill>
                <a:latin typeface="Times New Roman" panose="02020603050405020304" pitchFamily="18" charset="0"/>
              </a:rPr>
              <a:t> Higuero</a:t>
            </a:r>
            <a:endParaRPr lang="en-U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El proyecto se trata de acondicionar la arquitectura real time de CAF a los últimos avances tecnológicos, así como crear plataformas de </a:t>
            </a:r>
            <a:r>
              <a:rPr lang="es-ES" dirty="0" err="1">
                <a:solidFill>
                  <a:srgbClr val="000000"/>
                </a:solidFill>
                <a:latin typeface="Times New Roman" panose="02020603050405020304" pitchFamily="18" charset="0"/>
              </a:rPr>
              <a:t>reporting</a:t>
            </a:r>
            <a:r>
              <a:rPr lang="es-ES" dirty="0">
                <a:solidFill>
                  <a:srgbClr val="000000"/>
                </a:solidFill>
                <a:latin typeface="Times New Roman" panose="02020603050405020304" pitchFamily="18" charset="0"/>
              </a:rPr>
              <a:t> estándar. Esto se realiza utilizando diversos servicios de AWS como MSK y adaptar las herramientas de </a:t>
            </a:r>
            <a:r>
              <a:rPr lang="es-ES" dirty="0" err="1">
                <a:solidFill>
                  <a:srgbClr val="000000"/>
                </a:solidFill>
                <a:latin typeface="Times New Roman" panose="02020603050405020304" pitchFamily="18" charset="0"/>
              </a:rPr>
              <a:t>reporting</a:t>
            </a:r>
            <a:r>
              <a:rPr lang="es-ES" dirty="0">
                <a:solidFill>
                  <a:srgbClr val="000000"/>
                </a:solidFill>
                <a:latin typeface="Times New Roman" panose="02020603050405020304" pitchFamily="18" charset="0"/>
              </a:rPr>
              <a:t> y analítica de </a:t>
            </a:r>
            <a:r>
              <a:rPr lang="es-ES" dirty="0" err="1">
                <a:solidFill>
                  <a:srgbClr val="000000"/>
                </a:solidFill>
                <a:latin typeface="Times New Roman" panose="02020603050405020304" pitchFamily="18" charset="0"/>
              </a:rPr>
              <a:t>batch</a:t>
            </a:r>
            <a:r>
              <a:rPr lang="es-ES" dirty="0">
                <a:solidFill>
                  <a:srgbClr val="000000"/>
                </a:solidFill>
                <a:latin typeface="Times New Roman" panose="02020603050405020304" pitchFamily="18" charset="0"/>
              </a:rPr>
              <a:t> a ese flujo de datos utilizando </a:t>
            </a:r>
            <a:r>
              <a:rPr lang="es-ES" dirty="0" err="1">
                <a:solidFill>
                  <a:srgbClr val="000000"/>
                </a:solidFill>
                <a:latin typeface="Times New Roman" panose="02020603050405020304" pitchFamily="18" charset="0"/>
              </a:rPr>
              <a:t>Databricks</a:t>
            </a:r>
            <a:r>
              <a:rPr lang="es-ES" dirty="0">
                <a:solidFill>
                  <a:srgbClr val="000000"/>
                </a:solidFill>
                <a:latin typeface="Times New Roman" panose="02020603050405020304" pitchFamily="18" charset="0"/>
              </a:rPr>
              <a:t> y </a:t>
            </a:r>
            <a:r>
              <a:rPr lang="es-ES" dirty="0" err="1">
                <a:solidFill>
                  <a:srgbClr val="000000"/>
                </a:solidFill>
                <a:latin typeface="Times New Roman" panose="02020603050405020304" pitchFamily="18" charset="0"/>
              </a:rPr>
              <a:t>PowerBI</a:t>
            </a:r>
            <a:r>
              <a:rPr lang="es-ES" dirty="0">
                <a:solidFill>
                  <a:srgbClr val="000000"/>
                </a:solidFill>
                <a:latin typeface="Times New Roman" panose="02020603050405020304" pitchFamily="18" charset="0"/>
              </a:rPr>
              <a:t>.</a:t>
            </a:r>
          </a:p>
          <a:p>
            <a:pPr algn="just">
              <a:spcAft>
                <a:spcPts val="300"/>
              </a:spcAft>
            </a:pPr>
            <a:endParaRPr lang="en-US" b="1" dirty="0">
              <a:solidFill>
                <a:srgbClr val="000000"/>
              </a:solidFill>
              <a:latin typeface="Times New Roman" panose="02020603050405020304" pitchFamily="18" charset="0"/>
            </a:endParaRPr>
          </a:p>
          <a:p>
            <a:pPr algn="just">
              <a:spcAft>
                <a:spcPts val="300"/>
              </a:spcAft>
            </a:pPr>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Python, spark, </a:t>
            </a:r>
            <a:r>
              <a:rPr lang="en-GB" dirty="0" err="1">
                <a:solidFill>
                  <a:srgbClr val="000000"/>
                </a:solidFill>
                <a:latin typeface="Times New Roman" panose="02020603050405020304" pitchFamily="18" charset="0"/>
              </a:rPr>
              <a:t>pyspark</a:t>
            </a:r>
            <a:r>
              <a:rPr lang="en-GB" dirty="0">
                <a:solidFill>
                  <a:srgbClr val="000000"/>
                </a:solidFill>
                <a:latin typeface="Times New Roman" panose="02020603050405020304" pitchFamily="18" charset="0"/>
              </a:rPr>
              <a:t>, docker, Kafka, SQL, RDS, MSK, Delta, </a:t>
            </a:r>
            <a:r>
              <a:rPr lang="en-GB" dirty="0" err="1">
                <a:solidFill>
                  <a:srgbClr val="000000"/>
                </a:solidFill>
                <a:latin typeface="Times New Roman" panose="02020603050405020304" pitchFamily="18" charset="0"/>
              </a:rPr>
              <a:t>powerBI</a:t>
            </a:r>
            <a:r>
              <a:rPr lang="es-ES" dirty="0">
                <a:solidFill>
                  <a:srgbClr val="000000"/>
                </a:solidFill>
                <a:latin typeface="Times New Roman" panose="02020603050405020304" pitchFamily="18" charset="0"/>
              </a:rPr>
              <a:t>.</a:t>
            </a:r>
          </a:p>
        </p:txBody>
      </p:sp>
    </p:spTree>
    <p:extLst>
      <p:ext uri="{BB962C8B-B14F-4D97-AF65-F5344CB8AC3E}">
        <p14:creationId xmlns:p14="http://schemas.microsoft.com/office/powerpoint/2010/main" val="4120388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053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DDB936A-E35D-81DF-C5A0-0638449D0DDA}"/>
              </a:ext>
            </a:extLst>
          </p:cNvPr>
          <p:cNvSpPr>
            <a:spLocks noGrp="1"/>
          </p:cNvSpPr>
          <p:nvPr>
            <p:ph type="sldNum" sz="quarter" idx="12"/>
          </p:nvPr>
        </p:nvSpPr>
        <p:spPr/>
        <p:txBody>
          <a:bodyPr/>
          <a:lstStyle/>
          <a:p>
            <a:fld id="{46FB546C-7291-4B80-8780-14CE34EA4570}" type="slidenum">
              <a:rPr lang="es-ES" smtClean="0"/>
              <a:pPr/>
              <a:t>2</a:t>
            </a:fld>
            <a:endParaRPr lang="es-ES" dirty="0"/>
          </a:p>
        </p:txBody>
      </p:sp>
      <p:sp>
        <p:nvSpPr>
          <p:cNvPr id="9" name="Marcador de texto 8">
            <a:extLst>
              <a:ext uri="{FF2B5EF4-FFF2-40B4-BE49-F238E27FC236}">
                <a16:creationId xmlns:a16="http://schemas.microsoft.com/office/drawing/2014/main" id="{097A93FF-39FB-886D-1968-6FA84EC707D6}"/>
              </a:ext>
            </a:extLst>
          </p:cNvPr>
          <p:cNvSpPr>
            <a:spLocks noGrp="1"/>
          </p:cNvSpPr>
          <p:nvPr>
            <p:ph type="body" sz="quarter" idx="14"/>
          </p:nvPr>
        </p:nvSpPr>
        <p:spPr/>
        <p:txBody>
          <a:bodyPr/>
          <a:lstStyle/>
          <a:p>
            <a:r>
              <a:rPr lang="es-ES" dirty="0"/>
              <a:t>3</a:t>
            </a:r>
          </a:p>
        </p:txBody>
      </p:sp>
      <p:sp>
        <p:nvSpPr>
          <p:cNvPr id="10" name="Marcador de texto 9">
            <a:extLst>
              <a:ext uri="{FF2B5EF4-FFF2-40B4-BE49-F238E27FC236}">
                <a16:creationId xmlns:a16="http://schemas.microsoft.com/office/drawing/2014/main" id="{B3AE353B-3157-C78C-7AA1-0E2DEE1B0FB8}"/>
              </a:ext>
            </a:extLst>
          </p:cNvPr>
          <p:cNvSpPr>
            <a:spLocks noGrp="1"/>
          </p:cNvSpPr>
          <p:nvPr>
            <p:ph type="body" sz="quarter" idx="15"/>
          </p:nvPr>
        </p:nvSpPr>
        <p:spPr/>
        <p:txBody>
          <a:bodyPr/>
          <a:lstStyle/>
          <a:p>
            <a:r>
              <a:rPr lang="es-ES" dirty="0"/>
              <a:t>Proyectos para 2024-2025</a:t>
            </a:r>
          </a:p>
        </p:txBody>
      </p:sp>
      <p:sp>
        <p:nvSpPr>
          <p:cNvPr id="13" name="Marcador de texto 12">
            <a:extLst>
              <a:ext uri="{FF2B5EF4-FFF2-40B4-BE49-F238E27FC236}">
                <a16:creationId xmlns:a16="http://schemas.microsoft.com/office/drawing/2014/main" id="{15B5A8F8-F818-B237-6E61-31E25251D914}"/>
              </a:ext>
            </a:extLst>
          </p:cNvPr>
          <p:cNvSpPr>
            <a:spLocks noGrp="1"/>
          </p:cNvSpPr>
          <p:nvPr>
            <p:ph type="body" sz="quarter" idx="10"/>
          </p:nvPr>
        </p:nvSpPr>
        <p:spPr>
          <a:xfrm>
            <a:off x="463645" y="6525541"/>
            <a:ext cx="1001869" cy="228420"/>
          </a:xfrm>
        </p:spPr>
        <p:txBody>
          <a:bodyPr>
            <a:normAutofit fontScale="92500" lnSpcReduction="10000"/>
          </a:bodyPr>
          <a:lstStyle/>
          <a:p>
            <a:r>
              <a:rPr lang="en-US" sz="1100" b="1" dirty="0"/>
              <a:t>2023-2024</a:t>
            </a:r>
          </a:p>
        </p:txBody>
      </p:sp>
      <p:sp>
        <p:nvSpPr>
          <p:cNvPr id="14" name="Marcador de texto 20">
            <a:extLst>
              <a:ext uri="{FF2B5EF4-FFF2-40B4-BE49-F238E27FC236}">
                <a16:creationId xmlns:a16="http://schemas.microsoft.com/office/drawing/2014/main" id="{DB882A76-B377-9360-F47D-A37D7F858368}"/>
              </a:ext>
            </a:extLst>
          </p:cNvPr>
          <p:cNvSpPr>
            <a:spLocks noGrp="1"/>
          </p:cNvSpPr>
          <p:nvPr>
            <p:ph type="body" sz="quarter" idx="18"/>
          </p:nvPr>
        </p:nvSpPr>
        <p:spPr>
          <a:xfrm>
            <a:off x="1291798" y="6525541"/>
            <a:ext cx="8774839" cy="228420"/>
          </a:xfrm>
        </p:spPr>
        <p:txBody>
          <a:bodyPr>
            <a:normAutofit lnSpcReduction="10000"/>
          </a:bodyPr>
          <a:lstStyle/>
          <a:p>
            <a:r>
              <a:rPr lang="es-ES" dirty="0"/>
              <a:t>3. Proyectos para 2023-2024</a:t>
            </a:r>
          </a:p>
        </p:txBody>
      </p:sp>
    </p:spTree>
    <p:extLst>
      <p:ext uri="{BB962C8B-B14F-4D97-AF65-F5344CB8AC3E}">
        <p14:creationId xmlns:p14="http://schemas.microsoft.com/office/powerpoint/2010/main" val="28156389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102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3</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Análisis de las capacidades de </a:t>
            </a:r>
            <a:r>
              <a:rPr lang="es-ES" sz="2200" b="1" dirty="0" err="1">
                <a:solidFill>
                  <a:srgbClr val="000000"/>
                </a:solidFill>
                <a:latin typeface="Times New Roman" panose="02020603050405020304" pitchFamily="18" charset="0"/>
              </a:rPr>
              <a:t>handover</a:t>
            </a:r>
            <a:r>
              <a:rPr lang="es-ES" sz="2200" b="1" dirty="0">
                <a:solidFill>
                  <a:srgbClr val="000000"/>
                </a:solidFill>
                <a:latin typeface="Times New Roman" panose="02020603050405020304" pitchFamily="18" charset="0"/>
              </a:rPr>
              <a:t> de </a:t>
            </a:r>
            <a:r>
              <a:rPr lang="es-ES" sz="2200" b="1" dirty="0" err="1">
                <a:solidFill>
                  <a:srgbClr val="000000"/>
                </a:solidFill>
                <a:latin typeface="Times New Roman" panose="02020603050405020304" pitchFamily="18" charset="0"/>
              </a:rPr>
              <a:t>WiFi</a:t>
            </a:r>
            <a:r>
              <a:rPr lang="es-ES" sz="2200" b="1" dirty="0">
                <a:solidFill>
                  <a:srgbClr val="000000"/>
                </a:solidFill>
                <a:latin typeface="Times New Roman" panose="02020603050405020304" pitchFamily="18" charset="0"/>
              </a:rPr>
              <a:t> 6 en entorno ferroviario</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US" dirty="0">
                <a:solidFill>
                  <a:srgbClr val="000000"/>
                </a:solidFill>
                <a:latin typeface="Times New Roman" panose="02020603050405020304" pitchFamily="18" charset="0"/>
              </a:rPr>
              <a:t>Sergio Mateos</a:t>
            </a: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David Guerra</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El objetivo del proyecto es analizar las capacidades de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de Wifi 6 en un entorno ferroviario, en el cual las velocidades de cambio entre dos </a:t>
            </a:r>
            <a:r>
              <a:rPr lang="es-ES" dirty="0" err="1">
                <a:solidFill>
                  <a:srgbClr val="000000"/>
                </a:solidFill>
                <a:latin typeface="Times New Roman" panose="02020603050405020304" pitchFamily="18" charset="0"/>
              </a:rPr>
              <a:t>APs</a:t>
            </a:r>
            <a:r>
              <a:rPr lang="es-ES" dirty="0">
                <a:solidFill>
                  <a:srgbClr val="000000"/>
                </a:solidFill>
                <a:latin typeface="Times New Roman" panose="02020603050405020304" pitchFamily="18" charset="0"/>
              </a:rPr>
              <a:t> son sustancialmente </a:t>
            </a:r>
            <a:r>
              <a:rPr lang="es-ES" dirty="0" err="1">
                <a:solidFill>
                  <a:srgbClr val="000000"/>
                </a:solidFill>
                <a:latin typeface="Times New Roman" panose="02020603050405020304" pitchFamily="18" charset="0"/>
              </a:rPr>
              <a:t>superiors</a:t>
            </a:r>
            <a:r>
              <a:rPr lang="es-ES" dirty="0">
                <a:solidFill>
                  <a:srgbClr val="000000"/>
                </a:solidFill>
                <a:latin typeface="Times New Roman" panose="02020603050405020304" pitchFamily="18" charset="0"/>
              </a:rPr>
              <a:t> a los </a:t>
            </a:r>
            <a:r>
              <a:rPr lang="es-ES" dirty="0" err="1">
                <a:solidFill>
                  <a:srgbClr val="000000"/>
                </a:solidFill>
                <a:latin typeface="Times New Roman" panose="02020603050405020304" pitchFamily="18" charset="0"/>
              </a:rPr>
              <a:t>tipicos</a:t>
            </a:r>
            <a:r>
              <a:rPr lang="es-ES" dirty="0">
                <a:solidFill>
                  <a:srgbClr val="000000"/>
                </a:solidFill>
                <a:latin typeface="Times New Roman" panose="02020603050405020304" pitchFamily="18" charset="0"/>
              </a:rPr>
              <a:t> casos de uso de Wifi.</a:t>
            </a:r>
          </a:p>
          <a:p>
            <a:pPr algn="just">
              <a:spcAft>
                <a:spcPts val="300"/>
              </a:spcAft>
            </a:pPr>
            <a:r>
              <a:rPr lang="es-ES" dirty="0">
                <a:solidFill>
                  <a:srgbClr val="000000"/>
                </a:solidFill>
                <a:latin typeface="Times New Roman" panose="02020603050405020304" pitchFamily="18" charset="0"/>
              </a:rPr>
              <a:t>Para ello se analizarán las estrategias de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que existen, junto con la </a:t>
            </a:r>
            <a:r>
              <a:rPr lang="es-ES" dirty="0" err="1">
                <a:solidFill>
                  <a:srgbClr val="000000"/>
                </a:solidFill>
                <a:latin typeface="Times New Roman" panose="02020603050405020304" pitchFamily="18" charset="0"/>
              </a:rPr>
              <a:t>problematica</a:t>
            </a:r>
            <a:r>
              <a:rPr lang="es-ES" dirty="0">
                <a:solidFill>
                  <a:srgbClr val="000000"/>
                </a:solidFill>
                <a:latin typeface="Times New Roman" panose="02020603050405020304" pitchFamily="18" charset="0"/>
              </a:rPr>
              <a:t> existente en el refresco de las MAC de los switches a los que están conectados los diferentes puntos de acceso.</a:t>
            </a:r>
          </a:p>
          <a:p>
            <a:pPr algn="just">
              <a:spcAft>
                <a:spcPts val="300"/>
              </a:spcAft>
            </a:pPr>
            <a:r>
              <a:rPr lang="es-ES" dirty="0">
                <a:solidFill>
                  <a:srgbClr val="000000"/>
                </a:solidFill>
                <a:latin typeface="Times New Roman" panose="02020603050405020304" pitchFamily="18" charset="0"/>
              </a:rPr>
              <a:t>Una vez hecho el análisis teórico se procederá a una simulación, con alguna herramienta de simulación de redes (</a:t>
            </a:r>
            <a:r>
              <a:rPr lang="es-ES" dirty="0" err="1">
                <a:solidFill>
                  <a:srgbClr val="000000"/>
                </a:solidFill>
                <a:latin typeface="Times New Roman" panose="02020603050405020304" pitchFamily="18" charset="0"/>
              </a:rPr>
              <a:t>Omnet</a:t>
            </a:r>
            <a:r>
              <a:rPr lang="es-ES" dirty="0">
                <a:solidFill>
                  <a:srgbClr val="000000"/>
                </a:solidFill>
                <a:latin typeface="Times New Roman" panose="02020603050405020304" pitchFamily="18" charset="0"/>
              </a:rPr>
              <a:t> ++ o similar).</a:t>
            </a:r>
          </a:p>
          <a:p>
            <a:pPr algn="just">
              <a:spcAft>
                <a:spcPts val="300"/>
              </a:spcAft>
            </a:pPr>
            <a:r>
              <a:rPr lang="es-ES" dirty="0">
                <a:solidFill>
                  <a:srgbClr val="000000"/>
                </a:solidFill>
                <a:latin typeface="Times New Roman" panose="02020603050405020304" pitchFamily="18" charset="0"/>
              </a:rPr>
              <a:t>Además, se efectuarán pruebas de laboratorio con equipos para simular un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y analizar en tiempo real su rendimiento ( conexión, Perdida de paquetes etc.)</a:t>
            </a:r>
            <a:endParaRPr lang="es-ES" b="0" i="0" dirty="0">
              <a:solidFill>
                <a:srgbClr val="000000"/>
              </a:solidFill>
              <a:effectLst/>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Conocimientos</a:t>
            </a:r>
            <a:r>
              <a:rPr lang="en-GB"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básicos</a:t>
            </a:r>
            <a:r>
              <a:rPr lang="en-GB" dirty="0">
                <a:solidFill>
                  <a:srgbClr val="000000"/>
                </a:solidFill>
                <a:latin typeface="Times New Roman" panose="02020603050405020304" pitchFamily="18" charset="0"/>
              </a:rPr>
              <a:t> scripting</a:t>
            </a: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Inglés</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954076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4</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Definición metodología para gestión de ciclo de vida de Proyecto Integral mediante herramienta</a:t>
            </a:r>
            <a:endParaRPr lang="en-US" sz="2200" b="1" dirty="0">
              <a:solidFill>
                <a:srgbClr val="000000"/>
              </a:solidFill>
              <a:latin typeface="Times New Roman" panose="02020603050405020304" pitchFamily="18" charset="0"/>
            </a:endParaRPr>
          </a:p>
          <a:p>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Aritz </a:t>
            </a:r>
            <a:r>
              <a:rPr lang="en-GB" dirty="0" err="1">
                <a:solidFill>
                  <a:srgbClr val="000000"/>
                </a:solidFill>
                <a:latin typeface="Times New Roman" panose="02020603050405020304" pitchFamily="18" charset="0"/>
              </a:rPr>
              <a:t>Molinuevo</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Nerea Toledo</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endParaRPr lang="en-US" b="1" dirty="0">
              <a:solidFill>
                <a:srgbClr val="000000"/>
              </a:solidFill>
              <a:latin typeface="Times New Roman" panose="02020603050405020304" pitchFamily="18" charset="0"/>
            </a:endParaRPr>
          </a:p>
          <a:p>
            <a:pPr algn="just">
              <a:spcAft>
                <a:spcPts val="300"/>
              </a:spcAft>
            </a:pPr>
            <a:r>
              <a:rPr lang="es-ES" dirty="0">
                <a:solidFill>
                  <a:srgbClr val="000000"/>
                </a:solidFill>
                <a:latin typeface="Times New Roman" panose="02020603050405020304" pitchFamily="18" charset="0"/>
              </a:rPr>
              <a:t>Desarrollar una metodología, así como una plantilla en la herramienta ERM, en la que se identifiquen los diferentes elementos del sistema tranviario, clasificados por subsistemas y emplazamientos, de manera que se pueda trazar su estado y desarrollo desde el diseño hasta su puesta en servicio, pasando por la fabricación, instalación y pruebas.</a:t>
            </a:r>
          </a:p>
          <a:p>
            <a:pPr algn="just">
              <a:spcAft>
                <a:spcPts val="300"/>
              </a:spcAft>
            </a:pPr>
            <a:endParaRPr lang="es-ES" b="0" i="0" dirty="0">
              <a:solidFill>
                <a:srgbClr val="000000"/>
              </a:solidFill>
              <a:effectLst/>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Easy </a:t>
            </a:r>
            <a:r>
              <a:rPr lang="en-US" dirty="0" err="1">
                <a:solidFill>
                  <a:srgbClr val="000000"/>
                </a:solidFill>
                <a:latin typeface="Times New Roman" panose="02020603050405020304" pitchFamily="18" charset="0"/>
              </a:rPr>
              <a:t>RedMine</a:t>
            </a:r>
            <a:r>
              <a:rPr lang="en-US" dirty="0">
                <a:solidFill>
                  <a:srgbClr val="000000"/>
                </a:solidFill>
                <a:latin typeface="Times New Roman" panose="02020603050405020304" pitchFamily="18" charset="0"/>
              </a:rPr>
              <a:t>, ERM.</a:t>
            </a: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ngles Avanzado. </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535313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5</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Definición de flujos de trabajo integración</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Aiur Menika Cervero/Julen </a:t>
            </a:r>
            <a:r>
              <a:rPr lang="en-GB" dirty="0" err="1">
                <a:solidFill>
                  <a:srgbClr val="000000"/>
                </a:solidFill>
                <a:latin typeface="Times New Roman" panose="02020603050405020304" pitchFamily="18" charset="0"/>
              </a:rPr>
              <a:t>Vecill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Nerea Toledo</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Se requiere implementar una herramienta de flujos de trabajo para las tareas recurrentes del equipo de integración. Existirán tantos tipos de flujo de trabajo como localizaciones.</a:t>
            </a:r>
          </a:p>
          <a:p>
            <a:pPr algn="just">
              <a:spcAft>
                <a:spcPts val="300"/>
              </a:spcAft>
            </a:pPr>
            <a:r>
              <a:rPr lang="en-US" dirty="0" err="1">
                <a:solidFill>
                  <a:srgbClr val="000000"/>
                </a:solidFill>
                <a:latin typeface="Times New Roman" panose="02020603050405020304" pitchFamily="18" charset="0"/>
              </a:rPr>
              <a:t>Fases</a:t>
            </a:r>
            <a:r>
              <a:rPr lang="en-US" dirty="0">
                <a:solidFill>
                  <a:srgbClr val="000000"/>
                </a:solidFill>
                <a:latin typeface="Times New Roman" panose="02020603050405020304" pitchFamily="18" charset="0"/>
              </a:rPr>
              <a:t>:</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Estudio de la dinámica de trabajo del equipo de integración en cada uno de l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Análisis del caso de estudio realizado. </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Formación en la herramienta de flujos de trabajo ERM.</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Definición de los distint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Implementación de l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Documentar</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a:t>
            </a:r>
            <a:r>
              <a:rPr lang="es-ES" dirty="0">
                <a:solidFill>
                  <a:srgbClr val="000000"/>
                </a:solidFill>
                <a:latin typeface="Times New Roman" panose="02020603050405020304" pitchFamily="18" charset="0"/>
              </a:rPr>
              <a:t>Python para configuración de herramienta de flujos de trabajo, ERM.</a:t>
            </a:r>
            <a:endParaRPr lang="en-US" dirty="0">
              <a:solidFill>
                <a:srgbClr val="000000"/>
              </a:solidFill>
              <a:latin typeface="Times New Roman" panose="02020603050405020304" pitchFamily="18" charset="0"/>
            </a:endParaRP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ngles Avanzado. </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456264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6</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Development and Optimization of Models for Power Flow Simulation in High-Speed AC Traction Networks</a:t>
            </a: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Francisco </a:t>
            </a:r>
            <a:r>
              <a:rPr lang="en-GB" dirty="0" err="1">
                <a:solidFill>
                  <a:srgbClr val="000000"/>
                </a:solidFill>
                <a:latin typeface="Times New Roman" panose="02020603050405020304" pitchFamily="18" charset="0"/>
              </a:rPr>
              <a:t>Toresano</a:t>
            </a:r>
            <a:r>
              <a:rPr lang="en-GB" dirty="0">
                <a:solidFill>
                  <a:srgbClr val="000000"/>
                </a:solidFill>
                <a:latin typeface="Times New Roman" panose="02020603050405020304" pitchFamily="18" charset="0"/>
              </a:rPr>
              <a:t> </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Pablo </a:t>
            </a:r>
            <a:r>
              <a:rPr lang="en-GB" dirty="0" err="1">
                <a:solidFill>
                  <a:srgbClr val="000000"/>
                </a:solidFill>
                <a:latin typeface="Times New Roman" panose="02020603050405020304" pitchFamily="18" charset="0"/>
              </a:rPr>
              <a:t>Eguía</a:t>
            </a:r>
            <a:r>
              <a:rPr lang="en-GB" dirty="0">
                <a:solidFill>
                  <a:srgbClr val="000000"/>
                </a:solidFill>
                <a:latin typeface="Times New Roman" panose="02020603050405020304" pitchFamily="18" charset="0"/>
              </a:rPr>
              <a:t> López y Aitor </a:t>
            </a:r>
            <a:r>
              <a:rPr lang="en-GB" dirty="0" err="1">
                <a:solidFill>
                  <a:srgbClr val="000000"/>
                </a:solidFill>
                <a:latin typeface="Times New Roman" panose="02020603050405020304" pitchFamily="18" charset="0"/>
              </a:rPr>
              <a:t>Blázquez</a:t>
            </a:r>
            <a:r>
              <a:rPr lang="en-GB"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Campanon</a:t>
            </a:r>
            <a:r>
              <a:rPr lang="en-GB" dirty="0">
                <a:solidFill>
                  <a:srgbClr val="000000"/>
                </a:solidFill>
                <a:latin typeface="Times New Roman" panose="02020603050405020304" pitchFamily="18" charset="0"/>
              </a:rPr>
              <a:t>.</a:t>
            </a:r>
            <a:endParaRPr lang="en-US" dirty="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n-GB" dirty="0">
                <a:solidFill>
                  <a:srgbClr val="000000"/>
                </a:solidFill>
                <a:latin typeface="Times New Roman" panose="02020603050405020304" pitchFamily="18" charset="0"/>
              </a:rPr>
              <a:t>This project focuses on developing our own advanced simulation models for AC traction power flow in high-speed rail networks. By optimizing these models, the project aims to improve the accuracy of energy usage predictions and enhance the overall efficiency and reliability of the rail system.</a:t>
            </a:r>
            <a:endParaRPr lang="es-E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Knowledge in power flow studies and short-circuits for AC networks, including modelling of the components such as transformers and electric overhead cables. </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Knowledge of earthing is also desirable.</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Computing language: Python or similar.</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Languages: English (B2, C1)&gt;&gt; Meetings and tech papers.</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17490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4.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4.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7</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Definición arquitectura tipo sistema Tranviar</a:t>
            </a:r>
            <a:r>
              <a:rPr lang="es-ES" sz="1800" b="1" i="1" dirty="0">
                <a:solidFill>
                  <a:srgbClr val="7030A0"/>
                </a:solidFill>
                <a:effectLst/>
                <a:latin typeface="Century Gothic" panose="020B0502020202020204" pitchFamily="34" charset="0"/>
                <a:ea typeface="Times New Roman" panose="02020603050405020304" pitchFamily="18" charset="0"/>
                <a:cs typeface="Times New Roman" panose="02020603050405020304" pitchFamily="18" charset="0"/>
              </a:rPr>
              <a:t>io</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Aiur Menika Cervero</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a:t>
            </a: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Se requiere definir una metodología, adquirir una herramienta y definir una arquitectura y funciones “tipo” de un sistema tranviario.</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Análisis del estado del arte en la definición de arquitectura funcional de sistemas</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Identificación de herramientas existentes en el mercado para la definición de arquitecturas de sistema.</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Definición de metodología para definición de arquitectura y funciones de sistema. </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Implementación de herramienta.</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Definición Nivel 0 de arquitectura de un sistema tranviario.  </a:t>
            </a: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marL="285750" indent="-285750" algn="just">
              <a:spcAft>
                <a:spcPts val="300"/>
              </a:spcAft>
              <a:buFont typeface="Arial" panose="020B0604020202020204" pitchFamily="34" charset="0"/>
              <a:buChar char="•"/>
            </a:pPr>
            <a:r>
              <a:rPr lang="es-ES" dirty="0">
                <a:solidFill>
                  <a:srgbClr val="000000"/>
                </a:solidFill>
                <a:latin typeface="Times New Roman" panose="02020603050405020304" pitchFamily="18" charset="0"/>
              </a:rPr>
              <a:t>No se requieren conocimientos de programación específicos, aunque se requiere capacidad para configuración de herramientas</a:t>
            </a:r>
            <a:r>
              <a:rPr lang="en-GB" dirty="0">
                <a:solidFill>
                  <a:srgbClr val="000000"/>
                </a:solidFill>
                <a:latin typeface="Times New Roman" panose="02020603050405020304" pitchFamily="18" charset="0"/>
              </a:rPr>
              <a:t>. </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Languages: Ingles Avanzado.</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370899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614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8</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Predictions of rolling contact fatigue in railway wheels</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seba Murua </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a:t>
            </a:r>
            <a:r>
              <a:rPr lang="en-US" b="1">
                <a:solidFill>
                  <a:srgbClr val="000000"/>
                </a:solidFill>
                <a:latin typeface="Times New Roman" panose="02020603050405020304" pitchFamily="18" charset="0"/>
              </a:rPr>
              <a:t>: </a:t>
            </a:r>
            <a:r>
              <a:rPr lang="en-GB" smtClean="0">
                <a:solidFill>
                  <a:srgbClr val="000000"/>
                </a:solidFill>
                <a:latin typeface="Times New Roman" panose="02020603050405020304" pitchFamily="18" charset="0"/>
              </a:rPr>
              <a:t>Javier </a:t>
            </a:r>
            <a:r>
              <a:rPr lang="en-GB" dirty="0">
                <a:solidFill>
                  <a:srgbClr val="000000"/>
                </a:solidFill>
                <a:latin typeface="Times New Roman" panose="02020603050405020304" pitchFamily="18" charset="0"/>
              </a:rPr>
              <a:t>Santamaría</a:t>
            </a:r>
            <a:endParaRPr lang="en-US" dirty="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n-GB" dirty="0">
                <a:solidFill>
                  <a:srgbClr val="000000"/>
                </a:solidFill>
                <a:latin typeface="Times New Roman" panose="02020603050405020304" pitchFamily="18" charset="0"/>
              </a:rPr>
              <a:t>The goal of this project is to develop a computationally efficient methodology to predict the appearance of rolling contact fatigue in railway vehicle wheels. It will be based on the evaluation of a local damage-index via multibody simulations. In order to reduce the computational cost, the real track will be reduced to an equivalent set of evaluation points. The development of the theoretical criteria, its computational implementation and its validation with real data are the core of the project. The developed framework will be exercises in sensitivity studies to identify key parameters and design decisions with the aim of preventing and/or mitigating RCF.</a:t>
            </a:r>
            <a:endParaRPr lang="es-E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a:t>
            </a:r>
            <a:r>
              <a:rPr lang="en-GB" dirty="0" err="1">
                <a:solidFill>
                  <a:srgbClr val="000000"/>
                </a:solidFill>
                <a:latin typeface="Times New Roman" panose="02020603050405020304" pitchFamily="18" charset="0"/>
              </a:rPr>
              <a:t>Matlab</a:t>
            </a:r>
            <a:r>
              <a:rPr lang="en-GB" dirty="0">
                <a:solidFill>
                  <a:srgbClr val="000000"/>
                </a:solidFill>
                <a:latin typeface="Times New Roman" panose="02020603050405020304" pitchFamily="18" charset="0"/>
              </a:rPr>
              <a:t>, Python or similar</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N/A</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346075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2"/>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spid="_x0000_s717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6"/>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9</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IDS for CIP-based train on-board communication bus</a:t>
            </a: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gor Lopez</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Jasone Astorga</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sz="1600" dirty="0">
                <a:solidFill>
                  <a:srgbClr val="000000"/>
                </a:solidFill>
                <a:latin typeface="Times New Roman" panose="02020603050405020304" pitchFamily="18" charset="0"/>
              </a:rPr>
              <a:t>Los buses internos de un tren suelen basarse en un tráfico periódico y predefinido previamente mediante configuradores centralizados. Utilizando esta previsibilidad de tráfico se pretende desarrollar una función de </a:t>
            </a:r>
            <a:r>
              <a:rPr lang="es-ES" sz="1600" dirty="0" err="1">
                <a:solidFill>
                  <a:srgbClr val="000000"/>
                </a:solidFill>
                <a:latin typeface="Times New Roman" panose="02020603050405020304" pitchFamily="18" charset="0"/>
              </a:rPr>
              <a:t>Intrusion</a:t>
            </a:r>
            <a:r>
              <a:rPr lang="es-ES" sz="1600" dirty="0">
                <a:solidFill>
                  <a:srgbClr val="000000"/>
                </a:solidFill>
                <a:latin typeface="Times New Roman" panose="02020603050405020304" pitchFamily="18" charset="0"/>
              </a:rPr>
              <a:t> </a:t>
            </a:r>
            <a:r>
              <a:rPr lang="es-ES" sz="1600" dirty="0" err="1">
                <a:solidFill>
                  <a:srgbClr val="000000"/>
                </a:solidFill>
                <a:latin typeface="Times New Roman" panose="02020603050405020304" pitchFamily="18" charset="0"/>
              </a:rPr>
              <a:t>Detection</a:t>
            </a:r>
            <a:r>
              <a:rPr lang="es-ES" sz="1600" dirty="0">
                <a:solidFill>
                  <a:srgbClr val="000000"/>
                </a:solidFill>
                <a:latin typeface="Times New Roman" panose="02020603050405020304" pitchFamily="18" charset="0"/>
              </a:rPr>
              <a:t> </a:t>
            </a:r>
            <a:r>
              <a:rPr lang="es-ES" sz="1600" dirty="0" err="1">
                <a:solidFill>
                  <a:srgbClr val="000000"/>
                </a:solidFill>
                <a:latin typeface="Times New Roman" panose="02020603050405020304" pitchFamily="18" charset="0"/>
              </a:rPr>
              <a:t>System</a:t>
            </a:r>
            <a:r>
              <a:rPr lang="es-ES" sz="1600" dirty="0">
                <a:solidFill>
                  <a:srgbClr val="000000"/>
                </a:solidFill>
                <a:latin typeface="Times New Roman" panose="02020603050405020304" pitchFamily="18" charset="0"/>
              </a:rPr>
              <a:t> (IDS) que detecte posibles vectores de ataque evaluando tramas CIP que salgan de las condiciones de normalidad esperadas. Este proyecto se divide en cuatro tareas principales:</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Ingesta de fichero de configuración y definición de normalidad de red.</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Configuración de librería CIP de Suricata.</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Reporte de alarmas en caso de detectar un ataque.</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Validación de sistema IDS desarrollado mediante tráfico real provisto por CAF.</a:t>
            </a:r>
          </a:p>
          <a:p>
            <a:pPr algn="just">
              <a:spcAft>
                <a:spcPts val="300"/>
              </a:spcAft>
            </a:pPr>
            <a:r>
              <a:rPr lang="es-ES" sz="1600" dirty="0">
                <a:solidFill>
                  <a:srgbClr val="000000"/>
                </a:solidFill>
                <a:latin typeface="Times New Roman" panose="02020603050405020304" pitchFamily="18" charset="0"/>
              </a:rPr>
              <a:t>El desarrollo de esta función se hará en lenguaje C/C++ y se validará sobre </a:t>
            </a:r>
            <a:r>
              <a:rPr lang="es-ES" sz="1600" dirty="0" err="1">
                <a:solidFill>
                  <a:srgbClr val="000000"/>
                </a:solidFill>
                <a:latin typeface="Times New Roman" panose="02020603050405020304" pitchFamily="18" charset="0"/>
              </a:rPr>
              <a:t>Gnu</a:t>
            </a:r>
            <a:r>
              <a:rPr lang="es-ES" sz="1600" dirty="0">
                <a:solidFill>
                  <a:srgbClr val="000000"/>
                </a:solidFill>
                <a:latin typeface="Times New Roman" panose="02020603050405020304" pitchFamily="18" charset="0"/>
              </a:rPr>
              <a:t>/Linux.</a:t>
            </a: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C/C++</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Basic cybersecurity </a:t>
            </a:r>
            <a:r>
              <a:rPr lang="en-GB" sz="1800" dirty="0">
                <a:effectLst/>
                <a:latin typeface="Century Gothic" panose="020B0502020202020204" pitchFamily="34" charset="0"/>
                <a:ea typeface="Times New Roman" panose="02020603050405020304" pitchFamily="18" charset="0"/>
              </a:rPr>
              <a:t>skills</a:t>
            </a:r>
            <a:endParaRPr lang="es-ES" sz="1800" dirty="0">
              <a:effectLst/>
              <a:latin typeface="Times New Roman" panose="02020603050405020304" pitchFamily="18" charset="0"/>
              <a:ea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107426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AF Paleta Colores Primario">
      <a:dk1>
        <a:srgbClr val="000000"/>
      </a:dk1>
      <a:lt1>
        <a:sysClr val="window" lastClr="FFFFFF"/>
      </a:lt1>
      <a:dk2>
        <a:srgbClr val="696464"/>
      </a:dk2>
      <a:lt2>
        <a:srgbClr val="FFFFFF"/>
      </a:lt2>
      <a:accent1>
        <a:srgbClr val="DB0812"/>
      </a:accent1>
      <a:accent2>
        <a:srgbClr val="FFFFFF"/>
      </a:accent2>
      <a:accent3>
        <a:srgbClr val="000000"/>
      </a:accent3>
      <a:accent4>
        <a:srgbClr val="DB0812"/>
      </a:accent4>
      <a:accent5>
        <a:srgbClr val="FFFFFF"/>
      </a:accent5>
      <a:accent6>
        <a:srgbClr val="000000"/>
      </a:accent6>
      <a:hlink>
        <a:srgbClr val="000000"/>
      </a:hlink>
      <a:folHlink>
        <a:srgbClr val="DB0812"/>
      </a:folHlink>
    </a:clrScheme>
    <a:fontScheme name="Rubik">
      <a:majorFont>
        <a:latin typeface="Rubik Black"/>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6C359D73-60B6-4FF9-950F-3A852329564D}" vid="{18EFCE10-5E8D-4ED5-9FA7-1317C8AD0406}"/>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635CB0FE3F6F4C887587364FF8709B" ma:contentTypeVersion="12" ma:contentTypeDescription="Create a new document." ma:contentTypeScope="" ma:versionID="396adb6263af24af6f4ee6ae123562f1">
  <xsd:schema xmlns:xsd="http://www.w3.org/2001/XMLSchema" xmlns:xs="http://www.w3.org/2001/XMLSchema" xmlns:p="http://schemas.microsoft.com/office/2006/metadata/properties" xmlns:ns2="ae4f1ad1-b9e4-45c5-9c70-2ce3884396e5" xmlns:ns3="0a90beac-16c1-4463-a09e-93948f121f50" targetNamespace="http://schemas.microsoft.com/office/2006/metadata/properties" ma:root="true" ma:fieldsID="499a23b0c019c28295e538246879d1ff" ns2:_="" ns3:_="">
    <xsd:import namespace="ae4f1ad1-b9e4-45c5-9c70-2ce3884396e5"/>
    <xsd:import namespace="0a90beac-16c1-4463-a09e-93948f121f5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4f1ad1-b9e4-45c5-9c70-2ce3884396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d80e8668-2b83-4dc3-9a45-1c0d239e176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90beac-16c1-4463-a09e-93948f121f5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f812d17c-971f-4ef2-a3fb-5681c89b994a}" ma:internalName="TaxCatchAll" ma:showField="CatchAllData" ma:web="0a90beac-16c1-4463-a09e-93948f121f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a90beac-16c1-4463-a09e-93948f121f50" xsi:nil="true"/>
    <lcf76f155ced4ddcb4097134ff3c332f xmlns="ae4f1ad1-b9e4-45c5-9c70-2ce3884396e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CB497F-A12F-41CD-90B3-76F3E31190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4f1ad1-b9e4-45c5-9c70-2ce3884396e5"/>
    <ds:schemaRef ds:uri="0a90beac-16c1-4463-a09e-93948f121f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81D63CD-3AB8-4197-8DC4-10D4AEED1676}">
  <ds:schemaRefs>
    <ds:schemaRef ds:uri="http://schemas.microsoft.com/office/2006/metadata/properties"/>
    <ds:schemaRef ds:uri="http://schemas.microsoft.com/office/infopath/2007/PartnerControls"/>
    <ds:schemaRef ds:uri="0a90beac-16c1-4463-a09e-93948f121f50"/>
    <ds:schemaRef ds:uri="ae4f1ad1-b9e4-45c5-9c70-2ce3884396e5"/>
  </ds:schemaRefs>
</ds:datastoreItem>
</file>

<file path=customXml/itemProps3.xml><?xml version="1.0" encoding="utf-8"?>
<ds:datastoreItem xmlns:ds="http://schemas.openxmlformats.org/officeDocument/2006/customXml" ds:itemID="{27B81731-F09E-4BA8-828E-3597D96BA8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94</TotalTime>
  <Words>1427</Words>
  <Application>Microsoft Office PowerPoint</Application>
  <PresentationFormat>Panorámica</PresentationFormat>
  <Paragraphs>167</Paragraphs>
  <Slides>12</Slides>
  <Notes>9</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12</vt:i4>
      </vt:variant>
    </vt:vector>
  </HeadingPairs>
  <TitlesOfParts>
    <vt:vector size="24" baseType="lpstr">
      <vt:lpstr>Arial</vt:lpstr>
      <vt:lpstr>Calibri</vt:lpstr>
      <vt:lpstr>Century Gothic</vt:lpstr>
      <vt:lpstr>Rubik</vt:lpstr>
      <vt:lpstr>Rubik Bold</vt:lpstr>
      <vt:lpstr>Rubik Light</vt:lpstr>
      <vt:lpstr>Rubik Medium</vt:lpstr>
      <vt:lpstr>Rubik Regular</vt:lpstr>
      <vt:lpstr>Times New Roman</vt:lpstr>
      <vt:lpstr>ヒラギノ角ゴ Pro W3</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DURNE Altuna</dc:creator>
  <cp:lastModifiedBy>JAIME JIMENEZ</cp:lastModifiedBy>
  <cp:revision>14</cp:revision>
  <dcterms:created xsi:type="dcterms:W3CDTF">2023-05-31T10:24:33Z</dcterms:created>
  <dcterms:modified xsi:type="dcterms:W3CDTF">2024-10-14T16:0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635CB0FE3F6F4C887587364FF8709B</vt:lpwstr>
  </property>
  <property fmtid="{D5CDD505-2E9C-101B-9397-08002B2CF9AE}" pid="3" name="MediaServiceImageTags">
    <vt:lpwstr/>
  </property>
</Properties>
</file>